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90" r:id="rId6"/>
    <p:sldId id="258" r:id="rId7"/>
    <p:sldId id="291" r:id="rId8"/>
    <p:sldId id="294" r:id="rId9"/>
    <p:sldId id="295" r:id="rId10"/>
    <p:sldId id="262" r:id="rId11"/>
    <p:sldId id="293" r:id="rId12"/>
    <p:sldId id="292" r:id="rId13"/>
    <p:sldId id="263" r:id="rId14"/>
    <p:sldId id="303" r:id="rId15"/>
    <p:sldId id="297" r:id="rId16"/>
    <p:sldId id="298" r:id="rId17"/>
    <p:sldId id="264" r:id="rId18"/>
    <p:sldId id="299" r:id="rId19"/>
    <p:sldId id="300" r:id="rId20"/>
    <p:sldId id="305" r:id="rId21"/>
    <p:sldId id="296" r:id="rId22"/>
    <p:sldId id="304" r:id="rId23"/>
    <p:sldId id="261" r:id="rId24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636F"/>
    <a:srgbClr val="000F1A"/>
    <a:srgbClr val="0DF6FF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8DC995-9F0F-4EF5-AEF3-A264E185047A}" v="1770" dt="2021-12-01T21:42:08.105"/>
    <p1510:client id="{6FAE47C0-3E0F-4EFE-AA0A-CA87F4C6043D}" v="172" dt="2021-12-02T02:52:54.657"/>
    <p1510:client id="{7A67D75C-7D7C-42AE-8F54-ED4C0C1175EE}" v="2" dt="2021-12-01T23:24:00.250"/>
    <p1510:client id="{913A2FEA-2213-43FF-BC87-9539D302283B}" v="1253" dt="2021-12-02T02:50:41.658"/>
    <p1510:client id="{992D1C8F-923C-4DCC-A658-E6954E2D5B2D}" v="368" dt="2021-12-02T16:13:25.198"/>
    <p1510:client id="{9E9956F6-7255-476F-98A8-D8C14AEEB1E8}" v="525" dt="2021-12-02T05:47:07.966"/>
    <p1510:client id="{C54958F0-C461-B24E-AE79-787D70F5A7E5}" v="3760" dt="2021-12-02T16:08:45.610"/>
    <p1510:client id="{D8B02368-CA35-40FF-B868-581FC3223812}" v="12" dt="2021-12-02T02:10:26.0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u, Tongzhou" userId="S::tyu310@gatech.edu::7115ca41-421d-4421-a440-d8db818513c7" providerId="AD" clId="Web-{D8B02368-CA35-40FF-B868-581FC3223812}"/>
    <pc:docChg chg="modSld">
      <pc:chgData name="Yu, Tongzhou" userId="S::tyu310@gatech.edu::7115ca41-421d-4421-a440-d8db818513c7" providerId="AD" clId="Web-{D8B02368-CA35-40FF-B868-581FC3223812}" dt="2021-12-02T02:10:26.034" v="10"/>
      <pc:docMkLst>
        <pc:docMk/>
      </pc:docMkLst>
      <pc:sldChg chg="delSp">
        <pc:chgData name="Yu, Tongzhou" userId="S::tyu310@gatech.edu::7115ca41-421d-4421-a440-d8db818513c7" providerId="AD" clId="Web-{D8B02368-CA35-40FF-B868-581FC3223812}" dt="2021-12-02T02:10:26.034" v="10"/>
        <pc:sldMkLst>
          <pc:docMk/>
          <pc:sldMk cId="640890212" sldId="293"/>
        </pc:sldMkLst>
        <pc:spChg chg="del">
          <ac:chgData name="Yu, Tongzhou" userId="S::tyu310@gatech.edu::7115ca41-421d-4421-a440-d8db818513c7" providerId="AD" clId="Web-{D8B02368-CA35-40FF-B868-581FC3223812}" dt="2021-12-02T02:10:26.034" v="10"/>
          <ac:spMkLst>
            <pc:docMk/>
            <pc:sldMk cId="640890212" sldId="293"/>
            <ac:spMk id="3" creationId="{65DE8062-53CB-467C-A5AB-8D49EBF0011A}"/>
          </ac:spMkLst>
        </pc:spChg>
      </pc:sldChg>
      <pc:sldChg chg="delSp">
        <pc:chgData name="Yu, Tongzhou" userId="S::tyu310@gatech.edu::7115ca41-421d-4421-a440-d8db818513c7" providerId="AD" clId="Web-{D8B02368-CA35-40FF-B868-581FC3223812}" dt="2021-12-02T01:54:36.549" v="3"/>
        <pc:sldMkLst>
          <pc:docMk/>
          <pc:sldMk cId="1562830815" sldId="299"/>
        </pc:sldMkLst>
        <pc:spChg chg="del">
          <ac:chgData name="Yu, Tongzhou" userId="S::tyu310@gatech.edu::7115ca41-421d-4421-a440-d8db818513c7" providerId="AD" clId="Web-{D8B02368-CA35-40FF-B868-581FC3223812}" dt="2021-12-02T01:54:36.549" v="3"/>
          <ac:spMkLst>
            <pc:docMk/>
            <pc:sldMk cId="1562830815" sldId="299"/>
            <ac:spMk id="2" creationId="{7C4B94A4-DAC0-4439-878D-B575CA4F9A90}"/>
          </ac:spMkLst>
        </pc:spChg>
        <pc:spChg chg="del">
          <ac:chgData name="Yu, Tongzhou" userId="S::tyu310@gatech.edu::7115ca41-421d-4421-a440-d8db818513c7" providerId="AD" clId="Web-{D8B02368-CA35-40FF-B868-581FC3223812}" dt="2021-12-02T01:54:19.971" v="0"/>
          <ac:spMkLst>
            <pc:docMk/>
            <pc:sldMk cId="1562830815" sldId="299"/>
            <ac:spMk id="4" creationId="{430E53AC-BD38-42EC-A8E5-FCAFF59248C3}"/>
          </ac:spMkLst>
        </pc:spChg>
      </pc:sldChg>
      <pc:sldChg chg="delSp modSp">
        <pc:chgData name="Yu, Tongzhou" userId="S::tyu310@gatech.edu::7115ca41-421d-4421-a440-d8db818513c7" providerId="AD" clId="Web-{D8B02368-CA35-40FF-B868-581FC3223812}" dt="2021-12-02T01:55:59.536" v="7" actId="1076"/>
        <pc:sldMkLst>
          <pc:docMk/>
          <pc:sldMk cId="495501197" sldId="300"/>
        </pc:sldMkLst>
        <pc:spChg chg="del">
          <ac:chgData name="Yu, Tongzhou" userId="S::tyu310@gatech.edu::7115ca41-421d-4421-a440-d8db818513c7" providerId="AD" clId="Web-{D8B02368-CA35-40FF-B868-581FC3223812}" dt="2021-12-02T01:54:34.002" v="2"/>
          <ac:spMkLst>
            <pc:docMk/>
            <pc:sldMk cId="495501197" sldId="300"/>
            <ac:spMk id="2" creationId="{BC84CC28-D977-42C5-A50B-239B64D1BFAB}"/>
          </ac:spMkLst>
        </pc:spChg>
        <pc:spChg chg="del">
          <ac:chgData name="Yu, Tongzhou" userId="S::tyu310@gatech.edu::7115ca41-421d-4421-a440-d8db818513c7" providerId="AD" clId="Web-{D8B02368-CA35-40FF-B868-581FC3223812}" dt="2021-12-02T01:54:29.408" v="1"/>
          <ac:spMkLst>
            <pc:docMk/>
            <pc:sldMk cId="495501197" sldId="300"/>
            <ac:spMk id="4" creationId="{F4E4BC90-71D8-4BCB-BE52-819929F30620}"/>
          </ac:spMkLst>
        </pc:spChg>
        <pc:spChg chg="mod">
          <ac:chgData name="Yu, Tongzhou" userId="S::tyu310@gatech.edu::7115ca41-421d-4421-a440-d8db818513c7" providerId="AD" clId="Web-{D8B02368-CA35-40FF-B868-581FC3223812}" dt="2021-12-02T01:55:59.536" v="7" actId="1076"/>
          <ac:spMkLst>
            <pc:docMk/>
            <pc:sldMk cId="495501197" sldId="300"/>
            <ac:spMk id="11" creationId="{1FAF163E-C964-445B-88DA-82E1600AD2A3}"/>
          </ac:spMkLst>
        </pc:spChg>
      </pc:sldChg>
      <pc:sldChg chg="delSp modSp">
        <pc:chgData name="Yu, Tongzhou" userId="S::tyu310@gatech.edu::7115ca41-421d-4421-a440-d8db818513c7" providerId="AD" clId="Web-{D8B02368-CA35-40FF-B868-581FC3223812}" dt="2021-12-02T01:56:21.115" v="9" actId="1076"/>
        <pc:sldMkLst>
          <pc:docMk/>
          <pc:sldMk cId="1498436664" sldId="301"/>
        </pc:sldMkLst>
        <pc:spChg chg="del mod">
          <ac:chgData name="Yu, Tongzhou" userId="S::tyu310@gatech.edu::7115ca41-421d-4421-a440-d8db818513c7" providerId="AD" clId="Web-{D8B02368-CA35-40FF-B868-581FC3223812}" dt="2021-12-02T01:54:53.440" v="5"/>
          <ac:spMkLst>
            <pc:docMk/>
            <pc:sldMk cId="1498436664" sldId="301"/>
            <ac:spMk id="2" creationId="{4D42569D-6E69-454E-87AB-D5517274FA4D}"/>
          </ac:spMkLst>
        </pc:spChg>
        <pc:spChg chg="del">
          <ac:chgData name="Yu, Tongzhou" userId="S::tyu310@gatech.edu::7115ca41-421d-4421-a440-d8db818513c7" providerId="AD" clId="Web-{D8B02368-CA35-40FF-B868-581FC3223812}" dt="2021-12-02T01:55:31.082" v="6"/>
          <ac:spMkLst>
            <pc:docMk/>
            <pc:sldMk cId="1498436664" sldId="301"/>
            <ac:spMk id="4" creationId="{527E4B5E-F4A6-46E9-9A26-B60A71673458}"/>
          </ac:spMkLst>
        </pc:spChg>
        <pc:spChg chg="mod">
          <ac:chgData name="Yu, Tongzhou" userId="S::tyu310@gatech.edu::7115ca41-421d-4421-a440-d8db818513c7" providerId="AD" clId="Web-{D8B02368-CA35-40FF-B868-581FC3223812}" dt="2021-12-02T01:56:21.115" v="9" actId="1076"/>
          <ac:spMkLst>
            <pc:docMk/>
            <pc:sldMk cId="1498436664" sldId="301"/>
            <ac:spMk id="10" creationId="{CA34BC9D-F269-47C6-89C6-9692DA3F6A83}"/>
          </ac:spMkLst>
        </pc:spChg>
      </pc:sldChg>
    </pc:docChg>
  </pc:docChgLst>
  <pc:docChgLst>
    <pc:chgData name="Li, Shichen" userId="S::sli828@gatech.edu::f8d241da-5e1e-4af5-b9c4-65f6abb63622" providerId="AD" clId="Web-{913A2FEA-2213-43FF-BC87-9539D302283B}"/>
    <pc:docChg chg="addSld delSld modSld sldOrd">
      <pc:chgData name="Li, Shichen" userId="S::sli828@gatech.edu::f8d241da-5e1e-4af5-b9c4-65f6abb63622" providerId="AD" clId="Web-{913A2FEA-2213-43FF-BC87-9539D302283B}" dt="2021-12-02T02:50:41.658" v="737"/>
      <pc:docMkLst>
        <pc:docMk/>
      </pc:docMkLst>
      <pc:sldChg chg="ord">
        <pc:chgData name="Li, Shichen" userId="S::sli828@gatech.edu::f8d241da-5e1e-4af5-b9c4-65f6abb63622" providerId="AD" clId="Web-{913A2FEA-2213-43FF-BC87-9539D302283B}" dt="2021-12-01T23:24:23.670" v="1"/>
        <pc:sldMkLst>
          <pc:docMk/>
          <pc:sldMk cId="298975993" sldId="264"/>
        </pc:sldMkLst>
      </pc:sldChg>
      <pc:sldChg chg="addSp delSp modSp new">
        <pc:chgData name="Li, Shichen" userId="S::sli828@gatech.edu::f8d241da-5e1e-4af5-b9c4-65f6abb63622" providerId="AD" clId="Web-{913A2FEA-2213-43FF-BC87-9539D302283B}" dt="2021-12-01T23:30:24.087" v="190" actId="14100"/>
        <pc:sldMkLst>
          <pc:docMk/>
          <pc:sldMk cId="1562830815" sldId="299"/>
        </pc:sldMkLst>
        <pc:spChg chg="del mod">
          <ac:chgData name="Li, Shichen" userId="S::sli828@gatech.edu::f8d241da-5e1e-4af5-b9c4-65f6abb63622" providerId="AD" clId="Web-{913A2FEA-2213-43FF-BC87-9539D302283B}" dt="2021-12-01T23:24:42.187" v="3"/>
          <ac:spMkLst>
            <pc:docMk/>
            <pc:sldMk cId="1562830815" sldId="299"/>
            <ac:spMk id="5" creationId="{647B2908-600F-4594-9362-BB166D56099C}"/>
          </ac:spMkLst>
        </pc:spChg>
        <pc:spChg chg="add mod">
          <ac:chgData name="Li, Shichen" userId="S::sli828@gatech.edu::f8d241da-5e1e-4af5-b9c4-65f6abb63622" providerId="AD" clId="Web-{913A2FEA-2213-43FF-BC87-9539D302283B}" dt="2021-12-01T23:30:24.087" v="190" actId="14100"/>
          <ac:spMkLst>
            <pc:docMk/>
            <pc:sldMk cId="1562830815" sldId="299"/>
            <ac:spMk id="8" creationId="{528FC47F-274B-45CB-BA93-824B7C30124A}"/>
          </ac:spMkLst>
        </pc:spChg>
        <pc:graphicFrameChg chg="add mod ord modGraphic">
          <ac:chgData name="Li, Shichen" userId="S::sli828@gatech.edu::f8d241da-5e1e-4af5-b9c4-65f6abb63622" providerId="AD" clId="Web-{913A2FEA-2213-43FF-BC87-9539D302283B}" dt="2021-12-01T23:24:48.515" v="5"/>
          <ac:graphicFrameMkLst>
            <pc:docMk/>
            <pc:sldMk cId="1562830815" sldId="299"/>
            <ac:graphicFrameMk id="7" creationId="{E40763BD-338B-42BE-B1ED-0593C6FEF771}"/>
          </ac:graphicFrameMkLst>
        </pc:graphicFrameChg>
        <pc:picChg chg="add del mod">
          <ac:chgData name="Li, Shichen" userId="S::sli828@gatech.edu::f8d241da-5e1e-4af5-b9c4-65f6abb63622" providerId="AD" clId="Web-{913A2FEA-2213-43FF-BC87-9539D302283B}" dt="2021-12-01T23:25:28.016" v="14"/>
          <ac:picMkLst>
            <pc:docMk/>
            <pc:sldMk cId="1562830815" sldId="299"/>
            <ac:picMk id="9" creationId="{1DE3660E-2B3B-43EC-82AD-93621F26AA73}"/>
          </ac:picMkLst>
        </pc:picChg>
      </pc:sldChg>
      <pc:sldChg chg="addSp delSp modSp new">
        <pc:chgData name="Li, Shichen" userId="S::sli828@gatech.edu::f8d241da-5e1e-4af5-b9c4-65f6abb63622" providerId="AD" clId="Web-{913A2FEA-2213-43FF-BC87-9539D302283B}" dt="2021-12-02T02:50:29.955" v="736" actId="20577"/>
        <pc:sldMkLst>
          <pc:docMk/>
          <pc:sldMk cId="495501197" sldId="300"/>
        </pc:sldMkLst>
        <pc:spChg chg="del mod">
          <ac:chgData name="Li, Shichen" userId="S::sli828@gatech.edu::f8d241da-5e1e-4af5-b9c4-65f6abb63622" providerId="AD" clId="Web-{913A2FEA-2213-43FF-BC87-9539D302283B}" dt="2021-12-01T23:25:34.422" v="16"/>
          <ac:spMkLst>
            <pc:docMk/>
            <pc:sldMk cId="495501197" sldId="300"/>
            <ac:spMk id="5" creationId="{905AEE6B-2811-468F-B2B8-5A74A8DF2D35}"/>
          </ac:spMkLst>
        </pc:spChg>
        <pc:spChg chg="add mod">
          <ac:chgData name="Li, Shichen" userId="S::sli828@gatech.edu::f8d241da-5e1e-4af5-b9c4-65f6abb63622" providerId="AD" clId="Web-{913A2FEA-2213-43FF-BC87-9539D302283B}" dt="2021-12-02T02:50:29.955" v="736" actId="20577"/>
          <ac:spMkLst>
            <pc:docMk/>
            <pc:sldMk cId="495501197" sldId="300"/>
            <ac:spMk id="11" creationId="{1FAF163E-C964-445B-88DA-82E1600AD2A3}"/>
          </ac:spMkLst>
        </pc:spChg>
        <pc:picChg chg="add mod ord">
          <ac:chgData name="Li, Shichen" userId="S::sli828@gatech.edu::f8d241da-5e1e-4af5-b9c4-65f6abb63622" providerId="AD" clId="Web-{913A2FEA-2213-43FF-BC87-9539D302283B}" dt="2021-12-01T23:26:29.330" v="27" actId="14100"/>
          <ac:picMkLst>
            <pc:docMk/>
            <pc:sldMk cId="495501197" sldId="300"/>
            <ac:picMk id="6" creationId="{F990379F-F63E-4930-B2A2-FEBD8910E3CC}"/>
          </ac:picMkLst>
        </pc:picChg>
        <pc:picChg chg="add del mod">
          <ac:chgData name="Li, Shichen" userId="S::sli828@gatech.edu::f8d241da-5e1e-4af5-b9c4-65f6abb63622" providerId="AD" clId="Web-{913A2FEA-2213-43FF-BC87-9539D302283B}" dt="2021-12-01T23:25:37.266" v="18"/>
          <ac:picMkLst>
            <pc:docMk/>
            <pc:sldMk cId="495501197" sldId="300"/>
            <ac:picMk id="7" creationId="{91295AE0-F192-4F25-9E96-89BC8623A043}"/>
          </ac:picMkLst>
        </pc:picChg>
        <pc:picChg chg="add mod">
          <ac:chgData name="Li, Shichen" userId="S::sli828@gatech.edu::f8d241da-5e1e-4af5-b9c4-65f6abb63622" providerId="AD" clId="Web-{913A2FEA-2213-43FF-BC87-9539D302283B}" dt="2021-12-01T23:27:10.847" v="35" actId="14100"/>
          <ac:picMkLst>
            <pc:docMk/>
            <pc:sldMk cId="495501197" sldId="300"/>
            <ac:picMk id="8" creationId="{95ACB7EA-D184-4935-92B8-9560ED687E99}"/>
          </ac:picMkLst>
        </pc:picChg>
        <pc:picChg chg="add mod">
          <ac:chgData name="Li, Shichen" userId="S::sli828@gatech.edu::f8d241da-5e1e-4af5-b9c4-65f6abb63622" providerId="AD" clId="Web-{913A2FEA-2213-43FF-BC87-9539D302283B}" dt="2021-12-01T23:26:32.440" v="28" actId="14100"/>
          <ac:picMkLst>
            <pc:docMk/>
            <pc:sldMk cId="495501197" sldId="300"/>
            <ac:picMk id="9" creationId="{D6AC4E48-9F0A-490B-860F-FB07304251BC}"/>
          </ac:picMkLst>
        </pc:picChg>
        <pc:picChg chg="add mod">
          <ac:chgData name="Li, Shichen" userId="S::sli828@gatech.edu::f8d241da-5e1e-4af5-b9c4-65f6abb63622" providerId="AD" clId="Web-{913A2FEA-2213-43FF-BC87-9539D302283B}" dt="2021-12-01T23:26:49.331" v="33" actId="1076"/>
          <ac:picMkLst>
            <pc:docMk/>
            <pc:sldMk cId="495501197" sldId="300"/>
            <ac:picMk id="10" creationId="{9FB37409-494A-4802-B259-1B876F874ABD}"/>
          </ac:picMkLst>
        </pc:picChg>
      </pc:sldChg>
      <pc:sldChg chg="addSp delSp modSp new">
        <pc:chgData name="Li, Shichen" userId="S::sli828@gatech.edu::f8d241da-5e1e-4af5-b9c4-65f6abb63622" providerId="AD" clId="Web-{913A2FEA-2213-43FF-BC87-9539D302283B}" dt="2021-12-02T02:47:22.904" v="655" actId="14100"/>
        <pc:sldMkLst>
          <pc:docMk/>
          <pc:sldMk cId="1498436664" sldId="301"/>
        </pc:sldMkLst>
        <pc:spChg chg="del mod">
          <ac:chgData name="Li, Shichen" userId="S::sli828@gatech.edu::f8d241da-5e1e-4af5-b9c4-65f6abb63622" providerId="AD" clId="Web-{913A2FEA-2213-43FF-BC87-9539D302283B}" dt="2021-12-01T23:28:11.302" v="39"/>
          <ac:spMkLst>
            <pc:docMk/>
            <pc:sldMk cId="1498436664" sldId="301"/>
            <ac:spMk id="5" creationId="{899E1AC6-0B6D-472D-91EB-E96EBACE0BF0}"/>
          </ac:spMkLst>
        </pc:spChg>
        <pc:spChg chg="add del mod">
          <ac:chgData name="Li, Shichen" userId="S::sli828@gatech.edu::f8d241da-5e1e-4af5-b9c4-65f6abb63622" providerId="AD" clId="Web-{913A2FEA-2213-43FF-BC87-9539D302283B}" dt="2021-12-02T02:44:36.806" v="584"/>
          <ac:spMkLst>
            <pc:docMk/>
            <pc:sldMk cId="1498436664" sldId="301"/>
            <ac:spMk id="6" creationId="{BDF8A02C-16B3-43F2-9A27-EDFD78F775F8}"/>
          </ac:spMkLst>
        </pc:spChg>
        <pc:spChg chg="add mod">
          <ac:chgData name="Li, Shichen" userId="S::sli828@gatech.edu::f8d241da-5e1e-4af5-b9c4-65f6abb63622" providerId="AD" clId="Web-{913A2FEA-2213-43FF-BC87-9539D302283B}" dt="2021-12-02T02:47:22.904" v="655" actId="14100"/>
          <ac:spMkLst>
            <pc:docMk/>
            <pc:sldMk cId="1498436664" sldId="301"/>
            <ac:spMk id="10" creationId="{CA34BC9D-F269-47C6-89C6-9692DA3F6A83}"/>
          </ac:spMkLst>
        </pc:spChg>
        <pc:spChg chg="add del mod">
          <ac:chgData name="Li, Shichen" userId="S::sli828@gatech.edu::f8d241da-5e1e-4af5-b9c4-65f6abb63622" providerId="AD" clId="Web-{913A2FEA-2213-43FF-BC87-9539D302283B}" dt="2021-12-02T02:44:56.026" v="587"/>
          <ac:spMkLst>
            <pc:docMk/>
            <pc:sldMk cId="1498436664" sldId="301"/>
            <ac:spMk id="13" creationId="{9CB97119-DAB8-4355-A880-AEA20EA0F180}"/>
          </ac:spMkLst>
        </pc:spChg>
        <pc:picChg chg="add mod">
          <ac:chgData name="Li, Shichen" userId="S::sli828@gatech.edu::f8d241da-5e1e-4af5-b9c4-65f6abb63622" providerId="AD" clId="Web-{913A2FEA-2213-43FF-BC87-9539D302283B}" dt="2021-12-01T23:27:59.333" v="38" actId="1076"/>
          <ac:picMkLst>
            <pc:docMk/>
            <pc:sldMk cId="1498436664" sldId="301"/>
            <ac:picMk id="7" creationId="{EE37CC1D-19E9-4C2F-914A-645BDF23EC22}"/>
          </ac:picMkLst>
        </pc:picChg>
        <pc:picChg chg="add del mod ord">
          <ac:chgData name="Li, Shichen" userId="S::sli828@gatech.edu::f8d241da-5e1e-4af5-b9c4-65f6abb63622" providerId="AD" clId="Web-{913A2FEA-2213-43FF-BC87-9539D302283B}" dt="2021-12-02T02:44:24.587" v="583"/>
          <ac:picMkLst>
            <pc:docMk/>
            <pc:sldMk cId="1498436664" sldId="301"/>
            <ac:picMk id="8" creationId="{FD1E43E5-CBC9-4909-8079-B4F739A3D11F}"/>
          </ac:picMkLst>
        </pc:picChg>
        <pc:picChg chg="add mod">
          <ac:chgData name="Li, Shichen" userId="S::sli828@gatech.edu::f8d241da-5e1e-4af5-b9c4-65f6abb63622" providerId="AD" clId="Web-{913A2FEA-2213-43FF-BC87-9539D302283B}" dt="2021-12-01T23:28:29.709" v="44" actId="14100"/>
          <ac:picMkLst>
            <pc:docMk/>
            <pc:sldMk cId="1498436664" sldId="301"/>
            <ac:picMk id="9" creationId="{FDA4B076-17B7-4F57-BC27-3B0FF8B93947}"/>
          </ac:picMkLst>
        </pc:picChg>
        <pc:picChg chg="add del mod ord">
          <ac:chgData name="Li, Shichen" userId="S::sli828@gatech.edu::f8d241da-5e1e-4af5-b9c4-65f6abb63622" providerId="AD" clId="Web-{913A2FEA-2213-43FF-BC87-9539D302283B}" dt="2021-12-02T02:44:40.322" v="586"/>
          <ac:picMkLst>
            <pc:docMk/>
            <pc:sldMk cId="1498436664" sldId="301"/>
            <ac:picMk id="11" creationId="{A71E66E1-6E66-40E2-A343-E1BA63274FA0}"/>
          </ac:picMkLst>
        </pc:picChg>
        <pc:picChg chg="add mod ord">
          <ac:chgData name="Li, Shichen" userId="S::sli828@gatech.edu::f8d241da-5e1e-4af5-b9c4-65f6abb63622" providerId="AD" clId="Web-{913A2FEA-2213-43FF-BC87-9539D302283B}" dt="2021-12-02T02:44:58.822" v="588" actId="1076"/>
          <ac:picMkLst>
            <pc:docMk/>
            <pc:sldMk cId="1498436664" sldId="301"/>
            <ac:picMk id="14" creationId="{C48B155B-24AE-4735-8CC6-BB75F69B97F0}"/>
          </ac:picMkLst>
        </pc:picChg>
      </pc:sldChg>
      <pc:sldChg chg="modSp new del">
        <pc:chgData name="Li, Shichen" userId="S::sli828@gatech.edu::f8d241da-5e1e-4af5-b9c4-65f6abb63622" providerId="AD" clId="Web-{913A2FEA-2213-43FF-BC87-9539D302283B}" dt="2021-12-02T02:50:41.658" v="737"/>
        <pc:sldMkLst>
          <pc:docMk/>
          <pc:sldMk cId="4135018057" sldId="302"/>
        </pc:sldMkLst>
        <pc:spChg chg="mod">
          <ac:chgData name="Li, Shichen" userId="S::sli828@gatech.edu::f8d241da-5e1e-4af5-b9c4-65f6abb63622" providerId="AD" clId="Web-{913A2FEA-2213-43FF-BC87-9539D302283B}" dt="2021-12-02T02:48:21.061" v="676" actId="20577"/>
          <ac:spMkLst>
            <pc:docMk/>
            <pc:sldMk cId="4135018057" sldId="302"/>
            <ac:spMk id="5" creationId="{EA053051-E6A2-4B00-8A1F-03C7D0E5609E}"/>
          </ac:spMkLst>
        </pc:spChg>
      </pc:sldChg>
    </pc:docChg>
  </pc:docChgLst>
  <pc:docChgLst>
    <pc:chgData name="Yu, Tongzhou" userId="S::tyu310@gatech.edu::7115ca41-421d-4421-a440-d8db818513c7" providerId="AD" clId="Web-{578DC995-9F0F-4EF5-AEF3-A264E185047A}"/>
    <pc:docChg chg="addSld modSld">
      <pc:chgData name="Yu, Tongzhou" userId="S::tyu310@gatech.edu::7115ca41-421d-4421-a440-d8db818513c7" providerId="AD" clId="Web-{578DC995-9F0F-4EF5-AEF3-A264E185047A}" dt="2021-12-01T21:42:08.105" v="1247" actId="20577"/>
      <pc:docMkLst>
        <pc:docMk/>
      </pc:docMkLst>
      <pc:sldChg chg="addSp delSp modSp new">
        <pc:chgData name="Yu, Tongzhou" userId="S::tyu310@gatech.edu::7115ca41-421d-4421-a440-d8db818513c7" providerId="AD" clId="Web-{578DC995-9F0F-4EF5-AEF3-A264E185047A}" dt="2021-12-01T21:41:52.495" v="1240" actId="20577"/>
        <pc:sldMkLst>
          <pc:docMk/>
          <pc:sldMk cId="46742231" sldId="291"/>
        </pc:sldMkLst>
        <pc:spChg chg="mod">
          <ac:chgData name="Yu, Tongzhou" userId="S::tyu310@gatech.edu::7115ca41-421d-4421-a440-d8db818513c7" providerId="AD" clId="Web-{578DC995-9F0F-4EF5-AEF3-A264E185047A}" dt="2021-12-01T21:33:48.297" v="853" actId="20577"/>
          <ac:spMkLst>
            <pc:docMk/>
            <pc:sldMk cId="46742231" sldId="291"/>
            <ac:spMk id="2" creationId="{40A6E5A0-1ED6-4453-B403-9B92761D30F3}"/>
          </ac:spMkLst>
        </pc:spChg>
        <pc:spChg chg="del mod">
          <ac:chgData name="Yu, Tongzhou" userId="S::tyu310@gatech.edu::7115ca41-421d-4421-a440-d8db818513c7" providerId="AD" clId="Web-{578DC995-9F0F-4EF5-AEF3-A264E185047A}" dt="2021-12-01T21:32:34.420" v="807"/>
          <ac:spMkLst>
            <pc:docMk/>
            <pc:sldMk cId="46742231" sldId="291"/>
            <ac:spMk id="3" creationId="{65DE8062-53CB-467C-A5AB-8D49EBF0011A}"/>
          </ac:spMkLst>
        </pc:spChg>
        <pc:spChg chg="add del mod">
          <ac:chgData name="Yu, Tongzhou" userId="S::tyu310@gatech.edu::7115ca41-421d-4421-a440-d8db818513c7" providerId="AD" clId="Web-{578DC995-9F0F-4EF5-AEF3-A264E185047A}" dt="2021-12-01T21:28:15.868" v="800"/>
          <ac:spMkLst>
            <pc:docMk/>
            <pc:sldMk cId="46742231" sldId="291"/>
            <ac:spMk id="6" creationId="{D582D663-7603-4DF6-8414-18F34F57277C}"/>
          </ac:spMkLst>
        </pc:spChg>
        <pc:spChg chg="add mod">
          <ac:chgData name="Yu, Tongzhou" userId="S::tyu310@gatech.edu::7115ca41-421d-4421-a440-d8db818513c7" providerId="AD" clId="Web-{578DC995-9F0F-4EF5-AEF3-A264E185047A}" dt="2021-12-01T21:41:52.495" v="1240" actId="20577"/>
          <ac:spMkLst>
            <pc:docMk/>
            <pc:sldMk cId="46742231" sldId="291"/>
            <ac:spMk id="8" creationId="{C77A81E3-1E30-4F67-ABE5-41D7BE180B47}"/>
          </ac:spMkLst>
        </pc:spChg>
        <pc:picChg chg="add del mod">
          <ac:chgData name="Yu, Tongzhou" userId="S::tyu310@gatech.edu::7115ca41-421d-4421-a440-d8db818513c7" providerId="AD" clId="Web-{578DC995-9F0F-4EF5-AEF3-A264E185047A}" dt="2021-12-01T21:28:10.368" v="799"/>
          <ac:picMkLst>
            <pc:docMk/>
            <pc:sldMk cId="46742231" sldId="291"/>
            <ac:picMk id="5" creationId="{627D7109-EC9F-4A58-A412-1CFCC8FCF0AE}"/>
          </ac:picMkLst>
        </pc:picChg>
        <pc:picChg chg="add mod">
          <ac:chgData name="Yu, Tongzhou" userId="S::tyu310@gatech.edu::7115ca41-421d-4421-a440-d8db818513c7" providerId="AD" clId="Web-{578DC995-9F0F-4EF5-AEF3-A264E185047A}" dt="2021-12-01T21:32:39.171" v="810" actId="1076"/>
          <ac:picMkLst>
            <pc:docMk/>
            <pc:sldMk cId="46742231" sldId="291"/>
            <ac:picMk id="7" creationId="{6BF3EBBC-D6BC-4D67-AFD9-3820327ED1F6}"/>
          </ac:picMkLst>
        </pc:picChg>
      </pc:sldChg>
      <pc:sldChg chg="addSp delSp modSp add replId">
        <pc:chgData name="Yu, Tongzhou" userId="S::tyu310@gatech.edu::7115ca41-421d-4421-a440-d8db818513c7" providerId="AD" clId="Web-{578DC995-9F0F-4EF5-AEF3-A264E185047A}" dt="2021-12-01T21:26:15.115" v="781"/>
        <pc:sldMkLst>
          <pc:docMk/>
          <pc:sldMk cId="2062797621" sldId="292"/>
        </pc:sldMkLst>
        <pc:spChg chg="mod">
          <ac:chgData name="Yu, Tongzhou" userId="S::tyu310@gatech.edu::7115ca41-421d-4421-a440-d8db818513c7" providerId="AD" clId="Web-{578DC995-9F0F-4EF5-AEF3-A264E185047A}" dt="2021-12-01T21:18:14.261" v="254" actId="20577"/>
          <ac:spMkLst>
            <pc:docMk/>
            <pc:sldMk cId="2062797621" sldId="292"/>
            <ac:spMk id="2" creationId="{40A6E5A0-1ED6-4453-B403-9B92761D30F3}"/>
          </ac:spMkLst>
        </pc:spChg>
        <pc:spChg chg="del">
          <ac:chgData name="Yu, Tongzhou" userId="S::tyu310@gatech.edu::7115ca41-421d-4421-a440-d8db818513c7" providerId="AD" clId="Web-{578DC995-9F0F-4EF5-AEF3-A264E185047A}" dt="2021-12-01T21:15:57.571" v="216"/>
          <ac:spMkLst>
            <pc:docMk/>
            <pc:sldMk cId="2062797621" sldId="292"/>
            <ac:spMk id="3" creationId="{65DE8062-53CB-467C-A5AB-8D49EBF0011A}"/>
          </ac:spMkLst>
        </pc:spChg>
        <pc:spChg chg="del">
          <ac:chgData name="Yu, Tongzhou" userId="S::tyu310@gatech.edu::7115ca41-421d-4421-a440-d8db818513c7" providerId="AD" clId="Web-{578DC995-9F0F-4EF5-AEF3-A264E185047A}" dt="2021-12-01T21:15:57.571" v="215"/>
          <ac:spMkLst>
            <pc:docMk/>
            <pc:sldMk cId="2062797621" sldId="292"/>
            <ac:spMk id="4" creationId="{F0492C0D-8164-4C4F-BA06-E952AF0A83BE}"/>
          </ac:spMkLst>
        </pc:spChg>
        <pc:spChg chg="del">
          <ac:chgData name="Yu, Tongzhou" userId="S::tyu310@gatech.edu::7115ca41-421d-4421-a440-d8db818513c7" providerId="AD" clId="Web-{578DC995-9F0F-4EF5-AEF3-A264E185047A}" dt="2021-12-01T21:15:57.571" v="214"/>
          <ac:spMkLst>
            <pc:docMk/>
            <pc:sldMk cId="2062797621" sldId="292"/>
            <ac:spMk id="6" creationId="{D582D663-7603-4DF6-8414-18F34F57277C}"/>
          </ac:spMkLst>
        </pc:spChg>
        <pc:graphicFrameChg chg="add mod modGraphic">
          <ac:chgData name="Yu, Tongzhou" userId="S::tyu310@gatech.edu::7115ca41-421d-4421-a440-d8db818513c7" providerId="AD" clId="Web-{578DC995-9F0F-4EF5-AEF3-A264E185047A}" dt="2021-12-01T21:26:15.115" v="781"/>
          <ac:graphicFrameMkLst>
            <pc:docMk/>
            <pc:sldMk cId="2062797621" sldId="292"/>
            <ac:graphicFrameMk id="7" creationId="{A6625AB5-8AD4-4EF7-81BF-428CCF9B410B}"/>
          </ac:graphicFrameMkLst>
        </pc:graphicFrameChg>
        <pc:picChg chg="del">
          <ac:chgData name="Yu, Tongzhou" userId="S::tyu310@gatech.edu::7115ca41-421d-4421-a440-d8db818513c7" providerId="AD" clId="Web-{578DC995-9F0F-4EF5-AEF3-A264E185047A}" dt="2021-12-01T21:15:58.180" v="217"/>
          <ac:picMkLst>
            <pc:docMk/>
            <pc:sldMk cId="2062797621" sldId="292"/>
            <ac:picMk id="5" creationId="{627D7109-EC9F-4A58-A412-1CFCC8FCF0AE}"/>
          </ac:picMkLst>
        </pc:picChg>
      </pc:sldChg>
      <pc:sldChg chg="add replId">
        <pc:chgData name="Yu, Tongzhou" userId="S::tyu310@gatech.edu::7115ca41-421d-4421-a440-d8db818513c7" providerId="AD" clId="Web-{578DC995-9F0F-4EF5-AEF3-A264E185047A}" dt="2021-12-01T21:26:39.835" v="782"/>
        <pc:sldMkLst>
          <pc:docMk/>
          <pc:sldMk cId="640890212" sldId="293"/>
        </pc:sldMkLst>
      </pc:sldChg>
      <pc:sldChg chg="addSp delSp modSp add replId">
        <pc:chgData name="Yu, Tongzhou" userId="S::tyu310@gatech.edu::7115ca41-421d-4421-a440-d8db818513c7" providerId="AD" clId="Web-{578DC995-9F0F-4EF5-AEF3-A264E185047A}" dt="2021-12-01T21:41:58.558" v="1242" actId="20577"/>
        <pc:sldMkLst>
          <pc:docMk/>
          <pc:sldMk cId="2547353150" sldId="294"/>
        </pc:sldMkLst>
        <pc:spChg chg="mod">
          <ac:chgData name="Yu, Tongzhou" userId="S::tyu310@gatech.edu::7115ca41-421d-4421-a440-d8db818513c7" providerId="AD" clId="Web-{578DC995-9F0F-4EF5-AEF3-A264E185047A}" dt="2021-12-01T21:39:04.476" v="1117" actId="20577"/>
          <ac:spMkLst>
            <pc:docMk/>
            <pc:sldMk cId="2547353150" sldId="294"/>
            <ac:spMk id="2" creationId="{40A6E5A0-1ED6-4453-B403-9B92761D30F3}"/>
          </ac:spMkLst>
        </pc:spChg>
        <pc:spChg chg="add mod">
          <ac:chgData name="Yu, Tongzhou" userId="S::tyu310@gatech.edu::7115ca41-421d-4421-a440-d8db818513c7" providerId="AD" clId="Web-{578DC995-9F0F-4EF5-AEF3-A264E185047A}" dt="2021-12-01T21:41:58.558" v="1242" actId="20577"/>
          <ac:spMkLst>
            <pc:docMk/>
            <pc:sldMk cId="2547353150" sldId="294"/>
            <ac:spMk id="3" creationId="{B2D7E8BB-BC9A-4EB4-B939-E2DEE946BF07}"/>
          </ac:spMkLst>
        </pc:spChg>
        <pc:spChg chg="del">
          <ac:chgData name="Yu, Tongzhou" userId="S::tyu310@gatech.edu::7115ca41-421d-4421-a440-d8db818513c7" providerId="AD" clId="Web-{578DC995-9F0F-4EF5-AEF3-A264E185047A}" dt="2021-12-01T21:34:02.266" v="875"/>
          <ac:spMkLst>
            <pc:docMk/>
            <pc:sldMk cId="2547353150" sldId="294"/>
            <ac:spMk id="4" creationId="{F0492C0D-8164-4C4F-BA06-E952AF0A83BE}"/>
          </ac:spMkLst>
        </pc:spChg>
        <pc:spChg chg="del">
          <ac:chgData name="Yu, Tongzhou" userId="S::tyu310@gatech.edu::7115ca41-421d-4421-a440-d8db818513c7" providerId="AD" clId="Web-{578DC995-9F0F-4EF5-AEF3-A264E185047A}" dt="2021-12-01T21:34:02.266" v="874"/>
          <ac:spMkLst>
            <pc:docMk/>
            <pc:sldMk cId="2547353150" sldId="294"/>
            <ac:spMk id="8" creationId="{C77A81E3-1E30-4F67-ABE5-41D7BE180B47}"/>
          </ac:spMkLst>
        </pc:spChg>
        <pc:picChg chg="del">
          <ac:chgData name="Yu, Tongzhou" userId="S::tyu310@gatech.edu::7115ca41-421d-4421-a440-d8db818513c7" providerId="AD" clId="Web-{578DC995-9F0F-4EF5-AEF3-A264E185047A}" dt="2021-12-01T21:34:00.595" v="873"/>
          <ac:picMkLst>
            <pc:docMk/>
            <pc:sldMk cId="2547353150" sldId="294"/>
            <ac:picMk id="7" creationId="{6BF3EBBC-D6BC-4D67-AFD9-3820327ED1F6}"/>
          </ac:picMkLst>
        </pc:picChg>
      </pc:sldChg>
      <pc:sldChg chg="addSp modSp add replId">
        <pc:chgData name="Yu, Tongzhou" userId="S::tyu310@gatech.edu::7115ca41-421d-4421-a440-d8db818513c7" providerId="AD" clId="Web-{578DC995-9F0F-4EF5-AEF3-A264E185047A}" dt="2021-12-01T21:42:08.105" v="1247" actId="20577"/>
        <pc:sldMkLst>
          <pc:docMk/>
          <pc:sldMk cId="3548994513" sldId="295"/>
        </pc:sldMkLst>
        <pc:spChg chg="mod">
          <ac:chgData name="Yu, Tongzhou" userId="S::tyu310@gatech.edu::7115ca41-421d-4421-a440-d8db818513c7" providerId="AD" clId="Web-{578DC995-9F0F-4EF5-AEF3-A264E185047A}" dt="2021-12-01T21:42:08.105" v="1247" actId="20577"/>
          <ac:spMkLst>
            <pc:docMk/>
            <pc:sldMk cId="3548994513" sldId="295"/>
            <ac:spMk id="2" creationId="{40A6E5A0-1ED6-4453-B403-9B92761D30F3}"/>
          </ac:spMkLst>
        </pc:spChg>
        <pc:spChg chg="mod">
          <ac:chgData name="Yu, Tongzhou" userId="S::tyu310@gatech.edu::7115ca41-421d-4421-a440-d8db818513c7" providerId="AD" clId="Web-{578DC995-9F0F-4EF5-AEF3-A264E185047A}" dt="2021-12-01T21:40:40.400" v="1186" actId="20577"/>
          <ac:spMkLst>
            <pc:docMk/>
            <pc:sldMk cId="3548994513" sldId="295"/>
            <ac:spMk id="3" creationId="{B2D7E8BB-BC9A-4EB4-B939-E2DEE946BF07}"/>
          </ac:spMkLst>
        </pc:spChg>
        <pc:picChg chg="add mod">
          <ac:chgData name="Yu, Tongzhou" userId="S::tyu310@gatech.edu::7115ca41-421d-4421-a440-d8db818513c7" providerId="AD" clId="Web-{578DC995-9F0F-4EF5-AEF3-A264E185047A}" dt="2021-12-01T21:41:15.619" v="1188" actId="1076"/>
          <ac:picMkLst>
            <pc:docMk/>
            <pc:sldMk cId="3548994513" sldId="295"/>
            <ac:picMk id="4" creationId="{7852D74F-FED9-4656-B074-D80388777ED6}"/>
          </ac:picMkLst>
        </pc:picChg>
        <pc:picChg chg="add mod">
          <ac:chgData name="Yu, Tongzhou" userId="S::tyu310@gatech.edu::7115ca41-421d-4421-a440-d8db818513c7" providerId="AD" clId="Web-{578DC995-9F0F-4EF5-AEF3-A264E185047A}" dt="2021-12-01T21:41:20.527" v="1190" actId="1076"/>
          <ac:picMkLst>
            <pc:docMk/>
            <pc:sldMk cId="3548994513" sldId="295"/>
            <ac:picMk id="5" creationId="{47AA88BC-8816-4087-A9D3-78BB6EF9E471}"/>
          </ac:picMkLst>
        </pc:picChg>
        <pc:picChg chg="add mod">
          <ac:chgData name="Yu, Tongzhou" userId="S::tyu310@gatech.edu::7115ca41-421d-4421-a440-d8db818513c7" providerId="AD" clId="Web-{578DC995-9F0F-4EF5-AEF3-A264E185047A}" dt="2021-12-01T21:41:27.432" v="1192" actId="1076"/>
          <ac:picMkLst>
            <pc:docMk/>
            <pc:sldMk cId="3548994513" sldId="295"/>
            <ac:picMk id="6" creationId="{4EF31FEF-A6E4-42A6-A39E-CB6C71D4339F}"/>
          </ac:picMkLst>
        </pc:picChg>
      </pc:sldChg>
    </pc:docChg>
  </pc:docChgLst>
  <pc:docChgLst>
    <pc:chgData name="Li, Shichen" userId="S::sli828@gatech.edu::f8d241da-5e1e-4af5-b9c4-65f6abb63622" providerId="AD" clId="Web-{7A67D75C-7D7C-42AE-8F54-ED4C0C1175EE}"/>
    <pc:docChg chg="addSld delSld">
      <pc:chgData name="Li, Shichen" userId="S::sli828@gatech.edu::f8d241da-5e1e-4af5-b9c4-65f6abb63622" providerId="AD" clId="Web-{7A67D75C-7D7C-42AE-8F54-ED4C0C1175EE}" dt="2021-12-01T23:24:00.250" v="1"/>
      <pc:docMkLst>
        <pc:docMk/>
      </pc:docMkLst>
      <pc:sldChg chg="new del">
        <pc:chgData name="Li, Shichen" userId="S::sli828@gatech.edu::f8d241da-5e1e-4af5-b9c4-65f6abb63622" providerId="AD" clId="Web-{7A67D75C-7D7C-42AE-8F54-ED4C0C1175EE}" dt="2021-12-01T23:24:00.250" v="1"/>
        <pc:sldMkLst>
          <pc:docMk/>
          <pc:sldMk cId="1718165861" sldId="299"/>
        </pc:sldMkLst>
      </pc:sldChg>
    </pc:docChg>
  </pc:docChgLst>
  <pc:docChgLst>
    <pc:chgData name="Cai, Siyan" userId="c05b90bb-2bc8-44ab-ad43-2e6ade3411ba" providerId="ADAL" clId="{C54958F0-C461-B24E-AE79-787D70F5A7E5}"/>
    <pc:docChg chg="undo custSel addSld delSld modSld sldOrd">
      <pc:chgData name="Cai, Siyan" userId="c05b90bb-2bc8-44ab-ad43-2e6ade3411ba" providerId="ADAL" clId="{C54958F0-C461-B24E-AE79-787D70F5A7E5}" dt="2021-12-02T16:08:45.610" v="6054" actId="1076"/>
      <pc:docMkLst>
        <pc:docMk/>
      </pc:docMkLst>
      <pc:sldChg chg="addSp delSp modSp mod ord">
        <pc:chgData name="Cai, Siyan" userId="c05b90bb-2bc8-44ab-ad43-2e6ade3411ba" providerId="ADAL" clId="{C54958F0-C461-B24E-AE79-787D70F5A7E5}" dt="2021-12-02T04:34:07.548" v="3211" actId="1076"/>
        <pc:sldMkLst>
          <pc:docMk/>
          <pc:sldMk cId="2371597387" sldId="258"/>
        </pc:sldMkLst>
        <pc:spChg chg="add del mod">
          <ac:chgData name="Cai, Siyan" userId="c05b90bb-2bc8-44ab-ad43-2e6ade3411ba" providerId="ADAL" clId="{C54958F0-C461-B24E-AE79-787D70F5A7E5}" dt="2021-12-02T04:32:38.510" v="3162" actId="478"/>
          <ac:spMkLst>
            <pc:docMk/>
            <pc:sldMk cId="2371597387" sldId="258"/>
            <ac:spMk id="3" creationId="{CC9DE948-6AA9-7D46-8EB8-97ADEC4F7C9F}"/>
          </ac:spMkLst>
        </pc:spChg>
        <pc:spChg chg="mod">
          <ac:chgData name="Cai, Siyan" userId="c05b90bb-2bc8-44ab-ad43-2e6ade3411ba" providerId="ADAL" clId="{C54958F0-C461-B24E-AE79-787D70F5A7E5}" dt="2021-12-02T04:34:07.548" v="3211" actId="1076"/>
          <ac:spMkLst>
            <pc:docMk/>
            <pc:sldMk cId="2371597387" sldId="258"/>
            <ac:spMk id="5" creationId="{00000000-0000-0000-0000-000000000000}"/>
          </ac:spMkLst>
        </pc:spChg>
        <pc:spChg chg="del">
          <ac:chgData name="Cai, Siyan" userId="c05b90bb-2bc8-44ab-ad43-2e6ade3411ba" providerId="ADAL" clId="{C54958F0-C461-B24E-AE79-787D70F5A7E5}" dt="2021-12-02T04:32:37.035" v="3161" actId="478"/>
          <ac:spMkLst>
            <pc:docMk/>
            <pc:sldMk cId="2371597387" sldId="258"/>
            <ac:spMk id="6" creationId="{00000000-0000-0000-0000-000000000000}"/>
          </ac:spMkLst>
        </pc:spChg>
      </pc:sldChg>
      <pc:sldChg chg="addSp delSp modSp mod ord">
        <pc:chgData name="Cai, Siyan" userId="c05b90bb-2bc8-44ab-ad43-2e6ade3411ba" providerId="ADAL" clId="{C54958F0-C461-B24E-AE79-787D70F5A7E5}" dt="2021-12-02T16:08:45.610" v="6054" actId="1076"/>
        <pc:sldMkLst>
          <pc:docMk/>
          <pc:sldMk cId="1259043032" sldId="261"/>
        </pc:sldMkLst>
        <pc:spChg chg="mod">
          <ac:chgData name="Cai, Siyan" userId="c05b90bb-2bc8-44ab-ad43-2e6ade3411ba" providerId="ADAL" clId="{C54958F0-C461-B24E-AE79-787D70F5A7E5}" dt="2021-12-02T16:08:45.610" v="6054" actId="1076"/>
          <ac:spMkLst>
            <pc:docMk/>
            <pc:sldMk cId="1259043032" sldId="261"/>
            <ac:spMk id="5" creationId="{00000000-0000-0000-0000-000000000000}"/>
          </ac:spMkLst>
        </pc:spChg>
        <pc:spChg chg="del">
          <ac:chgData name="Cai, Siyan" userId="c05b90bb-2bc8-44ab-ad43-2e6ade3411ba" providerId="ADAL" clId="{C54958F0-C461-B24E-AE79-787D70F5A7E5}" dt="2021-12-01T22:42:39.667" v="390" actId="478"/>
          <ac:spMkLst>
            <pc:docMk/>
            <pc:sldMk cId="1259043032" sldId="261"/>
            <ac:spMk id="6" creationId="{00000000-0000-0000-0000-000000000000}"/>
          </ac:spMkLst>
        </pc:spChg>
        <pc:spChg chg="del">
          <ac:chgData name="Cai, Siyan" userId="c05b90bb-2bc8-44ab-ad43-2e6ade3411ba" providerId="ADAL" clId="{C54958F0-C461-B24E-AE79-787D70F5A7E5}" dt="2021-12-01T22:42:41.948" v="392" actId="478"/>
          <ac:spMkLst>
            <pc:docMk/>
            <pc:sldMk cId="1259043032" sldId="261"/>
            <ac:spMk id="7" creationId="{00000000-0000-0000-0000-000000000000}"/>
          </ac:spMkLst>
        </pc:spChg>
        <pc:spChg chg="add del mod">
          <ac:chgData name="Cai, Siyan" userId="c05b90bb-2bc8-44ab-ad43-2e6ade3411ba" providerId="ADAL" clId="{C54958F0-C461-B24E-AE79-787D70F5A7E5}" dt="2021-12-01T22:42:40.895" v="391" actId="478"/>
          <ac:spMkLst>
            <pc:docMk/>
            <pc:sldMk cId="1259043032" sldId="261"/>
            <ac:spMk id="8" creationId="{B92FB758-C6AC-4E44-B1C7-79C33A000FFC}"/>
          </ac:spMkLst>
        </pc:spChg>
        <pc:spChg chg="add del mod">
          <ac:chgData name="Cai, Siyan" userId="c05b90bb-2bc8-44ab-ad43-2e6ade3411ba" providerId="ADAL" clId="{C54958F0-C461-B24E-AE79-787D70F5A7E5}" dt="2021-12-01T22:42:42.790" v="393" actId="478"/>
          <ac:spMkLst>
            <pc:docMk/>
            <pc:sldMk cId="1259043032" sldId="261"/>
            <ac:spMk id="10" creationId="{E7C2E5F7-E1FD-5047-9D6D-113119D1F6CA}"/>
          </ac:spMkLst>
        </pc:spChg>
      </pc:sldChg>
      <pc:sldChg chg="modSp mod ord">
        <pc:chgData name="Cai, Siyan" userId="c05b90bb-2bc8-44ab-ad43-2e6ade3411ba" providerId="ADAL" clId="{C54958F0-C461-B24E-AE79-787D70F5A7E5}" dt="2021-12-02T02:48:15.949" v="2998" actId="1076"/>
        <pc:sldMkLst>
          <pc:docMk/>
          <pc:sldMk cId="2765325309" sldId="262"/>
        </pc:sldMkLst>
        <pc:spChg chg="mod">
          <ac:chgData name="Cai, Siyan" userId="c05b90bb-2bc8-44ab-ad43-2e6ade3411ba" providerId="ADAL" clId="{C54958F0-C461-B24E-AE79-787D70F5A7E5}" dt="2021-12-02T02:48:04.302" v="2995" actId="1076"/>
          <ac:spMkLst>
            <pc:docMk/>
            <pc:sldMk cId="2765325309" sldId="262"/>
            <ac:spMk id="5" creationId="{00000000-0000-0000-0000-000000000000}"/>
          </ac:spMkLst>
        </pc:spChg>
        <pc:spChg chg="mod">
          <ac:chgData name="Cai, Siyan" userId="c05b90bb-2bc8-44ab-ad43-2e6ade3411ba" providerId="ADAL" clId="{C54958F0-C461-B24E-AE79-787D70F5A7E5}" dt="2021-12-02T02:48:15.949" v="2998" actId="1076"/>
          <ac:spMkLst>
            <pc:docMk/>
            <pc:sldMk cId="2765325309" sldId="262"/>
            <ac:spMk id="6" creationId="{00000000-0000-0000-0000-000000000000}"/>
          </ac:spMkLst>
        </pc:spChg>
      </pc:sldChg>
      <pc:sldChg chg="modSp mod ord">
        <pc:chgData name="Cai, Siyan" userId="c05b90bb-2bc8-44ab-ad43-2e6ade3411ba" providerId="ADAL" clId="{C54958F0-C461-B24E-AE79-787D70F5A7E5}" dt="2021-12-02T02:48:31.238" v="3006" actId="1076"/>
        <pc:sldMkLst>
          <pc:docMk/>
          <pc:sldMk cId="2902485892" sldId="263"/>
        </pc:sldMkLst>
        <pc:spChg chg="mod">
          <ac:chgData name="Cai, Siyan" userId="c05b90bb-2bc8-44ab-ad43-2e6ade3411ba" providerId="ADAL" clId="{C54958F0-C461-B24E-AE79-787D70F5A7E5}" dt="2021-12-02T02:47:16.211" v="2918" actId="1076"/>
          <ac:spMkLst>
            <pc:docMk/>
            <pc:sldMk cId="2902485892" sldId="263"/>
            <ac:spMk id="5" creationId="{00000000-0000-0000-0000-000000000000}"/>
          </ac:spMkLst>
        </pc:spChg>
        <pc:spChg chg="mod">
          <ac:chgData name="Cai, Siyan" userId="c05b90bb-2bc8-44ab-ad43-2e6ade3411ba" providerId="ADAL" clId="{C54958F0-C461-B24E-AE79-787D70F5A7E5}" dt="2021-12-02T02:48:31.238" v="3006" actId="1076"/>
          <ac:spMkLst>
            <pc:docMk/>
            <pc:sldMk cId="2902485892" sldId="263"/>
            <ac:spMk id="6" creationId="{00000000-0000-0000-0000-000000000000}"/>
          </ac:spMkLst>
        </pc:spChg>
      </pc:sldChg>
      <pc:sldChg chg="modSp mod ord">
        <pc:chgData name="Cai, Siyan" userId="c05b90bb-2bc8-44ab-ad43-2e6ade3411ba" providerId="ADAL" clId="{C54958F0-C461-B24E-AE79-787D70F5A7E5}" dt="2021-12-02T16:07:29.797" v="6044" actId="404"/>
        <pc:sldMkLst>
          <pc:docMk/>
          <pc:sldMk cId="298975993" sldId="264"/>
        </pc:sldMkLst>
        <pc:spChg chg="mod">
          <ac:chgData name="Cai, Siyan" userId="c05b90bb-2bc8-44ab-ad43-2e6ade3411ba" providerId="ADAL" clId="{C54958F0-C461-B24E-AE79-787D70F5A7E5}" dt="2021-12-02T16:07:20.580" v="6040" actId="1076"/>
          <ac:spMkLst>
            <pc:docMk/>
            <pc:sldMk cId="298975993" sldId="264"/>
            <ac:spMk id="5" creationId="{00000000-0000-0000-0000-000000000000}"/>
          </ac:spMkLst>
        </pc:spChg>
        <pc:spChg chg="mod">
          <ac:chgData name="Cai, Siyan" userId="c05b90bb-2bc8-44ab-ad43-2e6ade3411ba" providerId="ADAL" clId="{C54958F0-C461-B24E-AE79-787D70F5A7E5}" dt="2021-12-02T16:07:29.797" v="6044" actId="404"/>
          <ac:spMkLst>
            <pc:docMk/>
            <pc:sldMk cId="298975993" sldId="264"/>
            <ac:spMk id="6" creationId="{00000000-0000-0000-0000-000000000000}"/>
          </ac:spMkLst>
        </pc:spChg>
      </pc:sldChg>
      <pc:sldChg chg="del">
        <pc:chgData name="Cai, Siyan" userId="c05b90bb-2bc8-44ab-ad43-2e6ade3411ba" providerId="ADAL" clId="{C54958F0-C461-B24E-AE79-787D70F5A7E5}" dt="2021-12-02T05:21:35.684" v="3956" actId="2696"/>
        <pc:sldMkLst>
          <pc:docMk/>
          <pc:sldMk cId="408260510" sldId="265"/>
        </pc:sldMkLst>
      </pc:sldChg>
      <pc:sldChg chg="del">
        <pc:chgData name="Cai, Siyan" userId="c05b90bb-2bc8-44ab-ad43-2e6ade3411ba" providerId="ADAL" clId="{C54958F0-C461-B24E-AE79-787D70F5A7E5}" dt="2021-12-02T15:45:57.257" v="4993" actId="2696"/>
        <pc:sldMkLst>
          <pc:docMk/>
          <pc:sldMk cId="4080126456" sldId="266"/>
        </pc:sldMkLst>
      </pc:sldChg>
      <pc:sldChg chg="del">
        <pc:chgData name="Cai, Siyan" userId="c05b90bb-2bc8-44ab-ad43-2e6ade3411ba" providerId="ADAL" clId="{C54958F0-C461-B24E-AE79-787D70F5A7E5}" dt="2021-12-02T05:21:39.919" v="3957" actId="2696"/>
        <pc:sldMkLst>
          <pc:docMk/>
          <pc:sldMk cId="3321209450" sldId="267"/>
        </pc:sldMkLst>
      </pc:sldChg>
      <pc:sldChg chg="del">
        <pc:chgData name="Cai, Siyan" userId="c05b90bb-2bc8-44ab-ad43-2e6ade3411ba" providerId="ADAL" clId="{C54958F0-C461-B24E-AE79-787D70F5A7E5}" dt="2021-12-02T05:21:41.087" v="3958" actId="2696"/>
        <pc:sldMkLst>
          <pc:docMk/>
          <pc:sldMk cId="1965640556" sldId="270"/>
        </pc:sldMkLst>
      </pc:sldChg>
      <pc:sldChg chg="del">
        <pc:chgData name="Cai, Siyan" userId="c05b90bb-2bc8-44ab-ad43-2e6ade3411ba" providerId="ADAL" clId="{C54958F0-C461-B24E-AE79-787D70F5A7E5}" dt="2021-12-02T05:21:43.659" v="3959" actId="2696"/>
        <pc:sldMkLst>
          <pc:docMk/>
          <pc:sldMk cId="1207012026" sldId="271"/>
        </pc:sldMkLst>
      </pc:sldChg>
      <pc:sldChg chg="del">
        <pc:chgData name="Cai, Siyan" userId="c05b90bb-2bc8-44ab-ad43-2e6ade3411ba" providerId="ADAL" clId="{C54958F0-C461-B24E-AE79-787D70F5A7E5}" dt="2021-12-02T15:14:41.773" v="4505" actId="2696"/>
        <pc:sldMkLst>
          <pc:docMk/>
          <pc:sldMk cId="511880069" sldId="274"/>
        </pc:sldMkLst>
      </pc:sldChg>
      <pc:sldChg chg="del">
        <pc:chgData name="Cai, Siyan" userId="c05b90bb-2bc8-44ab-ad43-2e6ade3411ba" providerId="ADAL" clId="{C54958F0-C461-B24E-AE79-787D70F5A7E5}" dt="2021-12-02T01:33:24.192" v="1801" actId="2696"/>
        <pc:sldMkLst>
          <pc:docMk/>
          <pc:sldMk cId="1653840737" sldId="275"/>
        </pc:sldMkLst>
      </pc:sldChg>
      <pc:sldChg chg="del">
        <pc:chgData name="Cai, Siyan" userId="c05b90bb-2bc8-44ab-ad43-2e6ade3411ba" providerId="ADAL" clId="{C54958F0-C461-B24E-AE79-787D70F5A7E5}" dt="2021-12-02T15:14:49.407" v="4506" actId="2696"/>
        <pc:sldMkLst>
          <pc:docMk/>
          <pc:sldMk cId="884872612" sldId="276"/>
        </pc:sldMkLst>
      </pc:sldChg>
      <pc:sldChg chg="del">
        <pc:chgData name="Cai, Siyan" userId="c05b90bb-2bc8-44ab-ad43-2e6ade3411ba" providerId="ADAL" clId="{C54958F0-C461-B24E-AE79-787D70F5A7E5}" dt="2021-12-02T15:14:50.568" v="4507" actId="2696"/>
        <pc:sldMkLst>
          <pc:docMk/>
          <pc:sldMk cId="2657521324" sldId="277"/>
        </pc:sldMkLst>
      </pc:sldChg>
      <pc:sldChg chg="del">
        <pc:chgData name="Cai, Siyan" userId="c05b90bb-2bc8-44ab-ad43-2e6ade3411ba" providerId="ADAL" clId="{C54958F0-C461-B24E-AE79-787D70F5A7E5}" dt="2021-12-02T15:45:57.619" v="4994" actId="2696"/>
        <pc:sldMkLst>
          <pc:docMk/>
          <pc:sldMk cId="2491885063" sldId="278"/>
        </pc:sldMkLst>
      </pc:sldChg>
      <pc:sldChg chg="del">
        <pc:chgData name="Cai, Siyan" userId="c05b90bb-2bc8-44ab-ad43-2e6ade3411ba" providerId="ADAL" clId="{C54958F0-C461-B24E-AE79-787D70F5A7E5}" dt="2021-12-02T15:14:54.130" v="4508" actId="2696"/>
        <pc:sldMkLst>
          <pc:docMk/>
          <pc:sldMk cId="2228401071" sldId="279"/>
        </pc:sldMkLst>
      </pc:sldChg>
      <pc:sldChg chg="del">
        <pc:chgData name="Cai, Siyan" userId="c05b90bb-2bc8-44ab-ad43-2e6ade3411ba" providerId="ADAL" clId="{C54958F0-C461-B24E-AE79-787D70F5A7E5}" dt="2021-12-02T15:14:55.471" v="4509" actId="2696"/>
        <pc:sldMkLst>
          <pc:docMk/>
          <pc:sldMk cId="4246304841" sldId="280"/>
        </pc:sldMkLst>
      </pc:sldChg>
      <pc:sldChg chg="del">
        <pc:chgData name="Cai, Siyan" userId="c05b90bb-2bc8-44ab-ad43-2e6ade3411ba" providerId="ADAL" clId="{C54958F0-C461-B24E-AE79-787D70F5A7E5}" dt="2021-12-01T20:09:17.457" v="178" actId="2696"/>
        <pc:sldMkLst>
          <pc:docMk/>
          <pc:sldMk cId="1000440432" sldId="281"/>
        </pc:sldMkLst>
      </pc:sldChg>
      <pc:sldChg chg="del">
        <pc:chgData name="Cai, Siyan" userId="c05b90bb-2bc8-44ab-ad43-2e6ade3411ba" providerId="ADAL" clId="{C54958F0-C461-B24E-AE79-787D70F5A7E5}" dt="2021-12-01T22:13:49.493" v="185" actId="2696"/>
        <pc:sldMkLst>
          <pc:docMk/>
          <pc:sldMk cId="545778957" sldId="282"/>
        </pc:sldMkLst>
      </pc:sldChg>
      <pc:sldChg chg="del">
        <pc:chgData name="Cai, Siyan" userId="c05b90bb-2bc8-44ab-ad43-2e6ade3411ba" providerId="ADAL" clId="{C54958F0-C461-B24E-AE79-787D70F5A7E5}" dt="2021-12-01T22:13:49.986" v="186" actId="2696"/>
        <pc:sldMkLst>
          <pc:docMk/>
          <pc:sldMk cId="329752134" sldId="283"/>
        </pc:sldMkLst>
      </pc:sldChg>
      <pc:sldChg chg="del">
        <pc:chgData name="Cai, Siyan" userId="c05b90bb-2bc8-44ab-ad43-2e6ade3411ba" providerId="ADAL" clId="{C54958F0-C461-B24E-AE79-787D70F5A7E5}" dt="2021-12-01T22:13:52.149" v="187" actId="2696"/>
        <pc:sldMkLst>
          <pc:docMk/>
          <pc:sldMk cId="3915218043" sldId="284"/>
        </pc:sldMkLst>
      </pc:sldChg>
      <pc:sldChg chg="del">
        <pc:chgData name="Cai, Siyan" userId="c05b90bb-2bc8-44ab-ad43-2e6ade3411ba" providerId="ADAL" clId="{C54958F0-C461-B24E-AE79-787D70F5A7E5}" dt="2021-12-01T22:13:55.695" v="188" actId="2696"/>
        <pc:sldMkLst>
          <pc:docMk/>
          <pc:sldMk cId="2562601572" sldId="285"/>
        </pc:sldMkLst>
      </pc:sldChg>
      <pc:sldChg chg="del">
        <pc:chgData name="Cai, Siyan" userId="c05b90bb-2bc8-44ab-ad43-2e6ade3411ba" providerId="ADAL" clId="{C54958F0-C461-B24E-AE79-787D70F5A7E5}" dt="2021-12-01T22:14:02.500" v="189" actId="2696"/>
        <pc:sldMkLst>
          <pc:docMk/>
          <pc:sldMk cId="329989085" sldId="286"/>
        </pc:sldMkLst>
      </pc:sldChg>
      <pc:sldChg chg="del">
        <pc:chgData name="Cai, Siyan" userId="c05b90bb-2bc8-44ab-ad43-2e6ade3411ba" providerId="ADAL" clId="{C54958F0-C461-B24E-AE79-787D70F5A7E5}" dt="2021-12-01T22:14:04.120" v="190" actId="2696"/>
        <pc:sldMkLst>
          <pc:docMk/>
          <pc:sldMk cId="3962855674" sldId="287"/>
        </pc:sldMkLst>
      </pc:sldChg>
      <pc:sldChg chg="del">
        <pc:chgData name="Cai, Siyan" userId="c05b90bb-2bc8-44ab-ad43-2e6ade3411ba" providerId="ADAL" clId="{C54958F0-C461-B24E-AE79-787D70F5A7E5}" dt="2021-12-01T22:14:04.943" v="191" actId="2696"/>
        <pc:sldMkLst>
          <pc:docMk/>
          <pc:sldMk cId="1237192661" sldId="288"/>
        </pc:sldMkLst>
      </pc:sldChg>
      <pc:sldChg chg="new del">
        <pc:chgData name="Cai, Siyan" userId="c05b90bb-2bc8-44ab-ad43-2e6ade3411ba" providerId="ADAL" clId="{C54958F0-C461-B24E-AE79-787D70F5A7E5}" dt="2021-12-01T00:59:01.718" v="1" actId="2696"/>
        <pc:sldMkLst>
          <pc:docMk/>
          <pc:sldMk cId="1586510788" sldId="289"/>
        </pc:sldMkLst>
      </pc:sldChg>
      <pc:sldChg chg="addSp modSp new del mod">
        <pc:chgData name="Cai, Siyan" userId="c05b90bb-2bc8-44ab-ad43-2e6ade3411ba" providerId="ADAL" clId="{C54958F0-C461-B24E-AE79-787D70F5A7E5}" dt="2021-12-01T22:27:45.263" v="222" actId="2696"/>
        <pc:sldMkLst>
          <pc:docMk/>
          <pc:sldMk cId="2202658611" sldId="289"/>
        </pc:sldMkLst>
        <pc:spChg chg="add mod">
          <ac:chgData name="Cai, Siyan" userId="c05b90bb-2bc8-44ab-ad43-2e6ade3411ba" providerId="ADAL" clId="{C54958F0-C461-B24E-AE79-787D70F5A7E5}" dt="2021-12-01T22:27:38.713" v="220" actId="21"/>
          <ac:spMkLst>
            <pc:docMk/>
            <pc:sldMk cId="2202658611" sldId="289"/>
            <ac:spMk id="2" creationId="{C888CDE4-B9A6-6E4B-852A-BB32B1F59207}"/>
          </ac:spMkLst>
        </pc:spChg>
      </pc:sldChg>
      <pc:sldChg chg="addSp delSp modSp add mod modClrScheme chgLayout">
        <pc:chgData name="Cai, Siyan" userId="c05b90bb-2bc8-44ab-ad43-2e6ade3411ba" providerId="ADAL" clId="{C54958F0-C461-B24E-AE79-787D70F5A7E5}" dt="2021-12-02T16:06:41.522" v="5993" actId="1076"/>
        <pc:sldMkLst>
          <pc:docMk/>
          <pc:sldMk cId="3350026117" sldId="290"/>
        </pc:sldMkLst>
        <pc:spChg chg="del">
          <ac:chgData name="Cai, Siyan" userId="c05b90bb-2bc8-44ab-ad43-2e6ade3411ba" providerId="ADAL" clId="{C54958F0-C461-B24E-AE79-787D70F5A7E5}" dt="2021-12-01T20:06:19.665" v="7"/>
          <ac:spMkLst>
            <pc:docMk/>
            <pc:sldMk cId="3350026117" sldId="290"/>
            <ac:spMk id="2" creationId="{A93128E8-5EAA-2C4B-B3AE-86132EEC4952}"/>
          </ac:spMkLst>
        </pc:spChg>
        <pc:spChg chg="del mod">
          <ac:chgData name="Cai, Siyan" userId="c05b90bb-2bc8-44ab-ad43-2e6ade3411ba" providerId="ADAL" clId="{C54958F0-C461-B24E-AE79-787D70F5A7E5}" dt="2021-12-01T20:07:32.820" v="99" actId="478"/>
          <ac:spMkLst>
            <pc:docMk/>
            <pc:sldMk cId="3350026117" sldId="290"/>
            <ac:spMk id="3" creationId="{8B6D526D-CFB0-B44E-9DB8-7A376C0459B4}"/>
          </ac:spMkLst>
        </pc:spChg>
        <pc:spChg chg="mod ord">
          <ac:chgData name="Cai, Siyan" userId="c05b90bb-2bc8-44ab-ad43-2e6ade3411ba" providerId="ADAL" clId="{C54958F0-C461-B24E-AE79-787D70F5A7E5}" dt="2021-12-01T22:20:04.508" v="196" actId="700"/>
          <ac:spMkLst>
            <pc:docMk/>
            <pc:sldMk cId="3350026117" sldId="290"/>
            <ac:spMk id="4" creationId="{BD66591F-D70E-CA48-867C-FCD0E7F47581}"/>
          </ac:spMkLst>
        </pc:spChg>
        <pc:spChg chg="add del mod">
          <ac:chgData name="Cai, Siyan" userId="c05b90bb-2bc8-44ab-ad43-2e6ade3411ba" providerId="ADAL" clId="{C54958F0-C461-B24E-AE79-787D70F5A7E5}" dt="2021-12-01T20:06:24.511" v="15" actId="478"/>
          <ac:spMkLst>
            <pc:docMk/>
            <pc:sldMk cId="3350026117" sldId="290"/>
            <ac:spMk id="5" creationId="{F264E35E-4FC1-5549-8DA1-6F6E66F14A91}"/>
          </ac:spMkLst>
        </pc:spChg>
        <pc:spChg chg="del mod">
          <ac:chgData name="Cai, Siyan" userId="c05b90bb-2bc8-44ab-ad43-2e6ade3411ba" providerId="ADAL" clId="{C54958F0-C461-B24E-AE79-787D70F5A7E5}" dt="2021-12-01T22:21:07.113" v="208" actId="478"/>
          <ac:spMkLst>
            <pc:docMk/>
            <pc:sldMk cId="3350026117" sldId="290"/>
            <ac:spMk id="7" creationId="{98774C71-B743-0847-BA60-2874BD98A038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9" creationId="{D349A8A5-35C5-844A-A47A-0E62B88A8F94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10" creationId="{6BFBAE47-F520-0349-A4CE-D05107B7A017}"/>
          </ac:spMkLst>
        </pc:spChg>
        <pc:spChg chg="mod">
          <ac:chgData name="Cai, Siyan" userId="c05b90bb-2bc8-44ab-ad43-2e6ade3411ba" providerId="ADAL" clId="{C54958F0-C461-B24E-AE79-787D70F5A7E5}" dt="2021-12-02T16:06:41.522" v="5993" actId="1076"/>
          <ac:spMkLst>
            <pc:docMk/>
            <pc:sldMk cId="3350026117" sldId="290"/>
            <ac:spMk id="15" creationId="{05A30676-F6E3-5C44-91A3-1A45A28D7B3D}"/>
          </ac:spMkLst>
        </pc:spChg>
        <pc:spChg chg="del mod">
          <ac:chgData name="Cai, Siyan" userId="c05b90bb-2bc8-44ab-ad43-2e6ade3411ba" providerId="ADAL" clId="{C54958F0-C461-B24E-AE79-787D70F5A7E5}" dt="2021-12-02T16:06:38.973" v="5992" actId="478"/>
          <ac:spMkLst>
            <pc:docMk/>
            <pc:sldMk cId="3350026117" sldId="290"/>
            <ac:spMk id="16" creationId="{20FD9D3B-835F-A446-B824-20715AC2C190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17" creationId="{78585DF1-1DB6-D145-86C8-EC7DDB273934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18" creationId="{4D4D67E9-2AFD-7E4A-A3B0-380B8A2904F6}"/>
          </ac:spMkLst>
        </pc:spChg>
        <pc:spChg chg="mod">
          <ac:chgData name="Cai, Siyan" userId="c05b90bb-2bc8-44ab-ad43-2e6ade3411ba" providerId="ADAL" clId="{C54958F0-C461-B24E-AE79-787D70F5A7E5}" dt="2021-12-02T16:06:32.576" v="5991" actId="20577"/>
          <ac:spMkLst>
            <pc:docMk/>
            <pc:sldMk cId="3350026117" sldId="290"/>
            <ac:spMk id="19" creationId="{2CDBA7A9-5E59-3F48-B23E-1FBDCB85323B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20" creationId="{462B7005-8DC4-A041-87A1-C3BF765D4351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21" creationId="{5CCB25D7-6991-7048-9E35-0A8FA4246D0F}"/>
          </ac:spMkLst>
        </pc:spChg>
        <pc:spChg chg="mod">
          <ac:chgData name="Cai, Siyan" userId="c05b90bb-2bc8-44ab-ad43-2e6ade3411ba" providerId="ADAL" clId="{C54958F0-C461-B24E-AE79-787D70F5A7E5}" dt="2021-12-02T05:21:02.073" v="3955" actId="20577"/>
          <ac:spMkLst>
            <pc:docMk/>
            <pc:sldMk cId="3350026117" sldId="290"/>
            <ac:spMk id="22" creationId="{B3FA8120-BB74-A84B-A706-A2C14E43FF4D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23" creationId="{F85D28EE-A6B7-B149-A131-425713D04B43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24" creationId="{20C477BC-3EFD-454E-83D7-B247E37D1BF1}"/>
          </ac:spMkLst>
        </pc:spChg>
        <pc:spChg chg="add del 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25" creationId="{3B492FF4-699F-8E47-8F9A-DF221F6E1424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26" creationId="{6488EDF4-86BA-4345-849A-8033C63C527F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27" creationId="{5F7C2EA5-C668-484A-A9A0-5CEED538E32D}"/>
          </ac:spMkLst>
        </pc:spChg>
        <pc:spChg chg="del mod">
          <ac:chgData name="Cai, Siyan" userId="c05b90bb-2bc8-44ab-ad43-2e6ade3411ba" providerId="ADAL" clId="{C54958F0-C461-B24E-AE79-787D70F5A7E5}" dt="2021-12-01T20:07:48.537" v="112" actId="478"/>
          <ac:spMkLst>
            <pc:docMk/>
            <pc:sldMk cId="3350026117" sldId="290"/>
            <ac:spMk id="28" creationId="{35087FAA-051C-1E4E-9E2A-156E1DBDD2F3}"/>
          </ac:spMkLst>
        </pc:spChg>
        <pc:spChg chg="mod">
          <ac:chgData name="Cai, Siyan" userId="c05b90bb-2bc8-44ab-ad43-2e6ade3411ba" providerId="ADAL" clId="{C54958F0-C461-B24E-AE79-787D70F5A7E5}" dt="2021-12-02T05:20:52.186" v="3950"/>
          <ac:spMkLst>
            <pc:docMk/>
            <pc:sldMk cId="3350026117" sldId="290"/>
            <ac:spMk id="29" creationId="{581AD457-4B5F-004B-85E6-9455CFA0491C}"/>
          </ac:spMkLst>
        </pc:spChg>
        <pc:spChg chg="add del mod">
          <ac:chgData name="Cai, Siyan" userId="c05b90bb-2bc8-44ab-ad43-2e6ade3411ba" providerId="ADAL" clId="{C54958F0-C461-B24E-AE79-787D70F5A7E5}" dt="2021-12-01T20:06:35.684" v="17" actId="478"/>
          <ac:spMkLst>
            <pc:docMk/>
            <pc:sldMk cId="3350026117" sldId="290"/>
            <ac:spMk id="30" creationId="{AC629692-9AB9-FB40-B693-E20EBFA22815}"/>
          </ac:spMkLst>
        </pc:spChg>
        <pc:spChg chg="add del mod">
          <ac:chgData name="Cai, Siyan" userId="c05b90bb-2bc8-44ab-ad43-2e6ade3411ba" providerId="ADAL" clId="{C54958F0-C461-B24E-AE79-787D70F5A7E5}" dt="2021-12-02T04:33:14.554" v="3186" actId="478"/>
          <ac:spMkLst>
            <pc:docMk/>
            <pc:sldMk cId="3350026117" sldId="290"/>
            <ac:spMk id="31" creationId="{A65F8374-BEA9-B643-89D9-C2509046619E}"/>
          </ac:spMkLst>
        </pc:spChg>
        <pc:grpChg chg="add mod">
          <ac:chgData name="Cai, Siyan" userId="c05b90bb-2bc8-44ab-ad43-2e6ade3411ba" providerId="ADAL" clId="{C54958F0-C461-B24E-AE79-787D70F5A7E5}" dt="2021-12-02T05:20:52.186" v="3950"/>
          <ac:grpSpMkLst>
            <pc:docMk/>
            <pc:sldMk cId="3350026117" sldId="290"/>
            <ac:grpSpMk id="6" creationId="{1C44C6CA-78A2-2047-8630-CBA30EFFC793}"/>
          </ac:grpSpMkLst>
        </pc:grpChg>
        <pc:grpChg chg="mod">
          <ac:chgData name="Cai, Siyan" userId="c05b90bb-2bc8-44ab-ad43-2e6ade3411ba" providerId="ADAL" clId="{C54958F0-C461-B24E-AE79-787D70F5A7E5}" dt="2021-12-02T05:20:52.186" v="3950"/>
          <ac:grpSpMkLst>
            <pc:docMk/>
            <pc:sldMk cId="3350026117" sldId="290"/>
            <ac:grpSpMk id="8" creationId="{47DCE4D4-B2AE-A644-AB5E-5A0F5D5688C2}"/>
          </ac:grpSpMkLst>
        </pc:grpChg>
        <pc:grpChg chg="mod">
          <ac:chgData name="Cai, Siyan" userId="c05b90bb-2bc8-44ab-ad43-2e6ade3411ba" providerId="ADAL" clId="{C54958F0-C461-B24E-AE79-787D70F5A7E5}" dt="2021-12-02T05:20:52.186" v="3950"/>
          <ac:grpSpMkLst>
            <pc:docMk/>
            <pc:sldMk cId="3350026117" sldId="290"/>
            <ac:grpSpMk id="11" creationId="{B57C1FE6-0B42-8741-BA76-BC47D6E3624F}"/>
          </ac:grpSpMkLst>
        </pc:grpChg>
        <pc:grpChg chg="mod">
          <ac:chgData name="Cai, Siyan" userId="c05b90bb-2bc8-44ab-ad43-2e6ade3411ba" providerId="ADAL" clId="{C54958F0-C461-B24E-AE79-787D70F5A7E5}" dt="2021-12-02T05:20:52.186" v="3950"/>
          <ac:grpSpMkLst>
            <pc:docMk/>
            <pc:sldMk cId="3350026117" sldId="290"/>
            <ac:grpSpMk id="12" creationId="{C33B6D0E-170D-A743-ABE2-BB0CDB5DC1B0}"/>
          </ac:grpSpMkLst>
        </pc:grpChg>
        <pc:grpChg chg="mod">
          <ac:chgData name="Cai, Siyan" userId="c05b90bb-2bc8-44ab-ad43-2e6ade3411ba" providerId="ADAL" clId="{C54958F0-C461-B24E-AE79-787D70F5A7E5}" dt="2021-12-02T05:20:52.186" v="3950"/>
          <ac:grpSpMkLst>
            <pc:docMk/>
            <pc:sldMk cId="3350026117" sldId="290"/>
            <ac:grpSpMk id="13" creationId="{74743E1E-7CF5-C34E-B9B0-23FEC7E45826}"/>
          </ac:grpSpMkLst>
        </pc:grpChg>
        <pc:grpChg chg="mod">
          <ac:chgData name="Cai, Siyan" userId="c05b90bb-2bc8-44ab-ad43-2e6ade3411ba" providerId="ADAL" clId="{C54958F0-C461-B24E-AE79-787D70F5A7E5}" dt="2021-12-02T05:20:52.186" v="3950"/>
          <ac:grpSpMkLst>
            <pc:docMk/>
            <pc:sldMk cId="3350026117" sldId="290"/>
            <ac:grpSpMk id="14" creationId="{4B9B16EB-7980-5F49-B582-CC3CE26971CC}"/>
          </ac:grpSpMkLst>
        </pc:grpChg>
      </pc:sldChg>
      <pc:sldChg chg="addSp delSp modSp mod">
        <pc:chgData name="Cai, Siyan" userId="c05b90bb-2bc8-44ab-ad43-2e6ade3411ba" providerId="ADAL" clId="{C54958F0-C461-B24E-AE79-787D70F5A7E5}" dt="2021-12-02T04:49:30.803" v="3513" actId="1076"/>
        <pc:sldMkLst>
          <pc:docMk/>
          <pc:sldMk cId="46742231" sldId="291"/>
        </pc:sldMkLst>
        <pc:spChg chg="mod">
          <ac:chgData name="Cai, Siyan" userId="c05b90bb-2bc8-44ab-ad43-2e6ade3411ba" providerId="ADAL" clId="{C54958F0-C461-B24E-AE79-787D70F5A7E5}" dt="2021-12-02T04:32:24.147" v="3150" actId="20577"/>
          <ac:spMkLst>
            <pc:docMk/>
            <pc:sldMk cId="46742231" sldId="291"/>
            <ac:spMk id="2" creationId="{40A6E5A0-1ED6-4453-B403-9B92761D30F3}"/>
          </ac:spMkLst>
        </pc:spChg>
        <pc:spChg chg="del">
          <ac:chgData name="Cai, Siyan" userId="c05b90bb-2bc8-44ab-ad43-2e6ade3411ba" providerId="ADAL" clId="{C54958F0-C461-B24E-AE79-787D70F5A7E5}" dt="2021-12-02T04:47:37.163" v="3449" actId="478"/>
          <ac:spMkLst>
            <pc:docMk/>
            <pc:sldMk cId="46742231" sldId="291"/>
            <ac:spMk id="4" creationId="{F0492C0D-8164-4C4F-BA06-E952AF0A83BE}"/>
          </ac:spMkLst>
        </pc:spChg>
        <pc:spChg chg="del mod">
          <ac:chgData name="Cai, Siyan" userId="c05b90bb-2bc8-44ab-ad43-2e6ade3411ba" providerId="ADAL" clId="{C54958F0-C461-B24E-AE79-787D70F5A7E5}" dt="2021-12-02T04:37:37.423" v="3353" actId="478"/>
          <ac:spMkLst>
            <pc:docMk/>
            <pc:sldMk cId="46742231" sldId="291"/>
            <ac:spMk id="8" creationId="{C77A81E3-1E30-4F67-ABE5-41D7BE180B47}"/>
          </ac:spMkLst>
        </pc:spChg>
        <pc:spChg chg="add mod">
          <ac:chgData name="Cai, Siyan" userId="c05b90bb-2bc8-44ab-ad43-2e6ade3411ba" providerId="ADAL" clId="{C54958F0-C461-B24E-AE79-787D70F5A7E5}" dt="2021-12-02T04:49:28.242" v="3512" actId="1076"/>
          <ac:spMkLst>
            <pc:docMk/>
            <pc:sldMk cId="46742231" sldId="291"/>
            <ac:spMk id="9" creationId="{BB784CF6-4368-5E41-9786-0340F36BDDC7}"/>
          </ac:spMkLst>
        </pc:spChg>
        <pc:spChg chg="add mod">
          <ac:chgData name="Cai, Siyan" userId="c05b90bb-2bc8-44ab-ad43-2e6ade3411ba" providerId="ADAL" clId="{C54958F0-C461-B24E-AE79-787D70F5A7E5}" dt="2021-12-02T04:49:30.803" v="3513" actId="1076"/>
          <ac:spMkLst>
            <pc:docMk/>
            <pc:sldMk cId="46742231" sldId="291"/>
            <ac:spMk id="10" creationId="{6A907B47-4082-994C-ACA5-6DB0DFFF8CDE}"/>
          </ac:spMkLst>
        </pc:spChg>
        <pc:spChg chg="add mod">
          <ac:chgData name="Cai, Siyan" userId="c05b90bb-2bc8-44ab-ad43-2e6ade3411ba" providerId="ADAL" clId="{C54958F0-C461-B24E-AE79-787D70F5A7E5}" dt="2021-12-02T04:47:53.689" v="3455" actId="207"/>
          <ac:spMkLst>
            <pc:docMk/>
            <pc:sldMk cId="46742231" sldId="291"/>
            <ac:spMk id="11" creationId="{305DC396-B6F5-7B45-B73C-DC3BCF43EF85}"/>
          </ac:spMkLst>
        </pc:spChg>
        <pc:picChg chg="mod">
          <ac:chgData name="Cai, Siyan" userId="c05b90bb-2bc8-44ab-ad43-2e6ade3411ba" providerId="ADAL" clId="{C54958F0-C461-B24E-AE79-787D70F5A7E5}" dt="2021-12-02T04:49:28.242" v="3512" actId="1076"/>
          <ac:picMkLst>
            <pc:docMk/>
            <pc:sldMk cId="46742231" sldId="291"/>
            <ac:picMk id="7" creationId="{6BF3EBBC-D6BC-4D67-AFD9-3820327ED1F6}"/>
          </ac:picMkLst>
        </pc:picChg>
      </pc:sldChg>
      <pc:sldChg chg="addSp modSp mod">
        <pc:chgData name="Cai, Siyan" userId="c05b90bb-2bc8-44ab-ad43-2e6ade3411ba" providerId="ADAL" clId="{C54958F0-C461-B24E-AE79-787D70F5A7E5}" dt="2021-12-02T05:25:37.571" v="4032" actId="403"/>
        <pc:sldMkLst>
          <pc:docMk/>
          <pc:sldMk cId="2062797621" sldId="292"/>
        </pc:sldMkLst>
        <pc:spChg chg="mod">
          <ac:chgData name="Cai, Siyan" userId="c05b90bb-2bc8-44ab-ad43-2e6ade3411ba" providerId="ADAL" clId="{C54958F0-C461-B24E-AE79-787D70F5A7E5}" dt="2021-12-02T02:47:55.323" v="2993" actId="20577"/>
          <ac:spMkLst>
            <pc:docMk/>
            <pc:sldMk cId="2062797621" sldId="292"/>
            <ac:spMk id="2" creationId="{40A6E5A0-1ED6-4453-B403-9B92761D30F3}"/>
          </ac:spMkLst>
        </pc:spChg>
        <pc:spChg chg="add mod">
          <ac:chgData name="Cai, Siyan" userId="c05b90bb-2bc8-44ab-ad43-2e6ade3411ba" providerId="ADAL" clId="{C54958F0-C461-B24E-AE79-787D70F5A7E5}" dt="2021-12-02T04:48:18.850" v="3471" actId="20577"/>
          <ac:spMkLst>
            <pc:docMk/>
            <pc:sldMk cId="2062797621" sldId="292"/>
            <ac:spMk id="4" creationId="{51F81E59-A9FC-494C-8484-B024C62EC295}"/>
          </ac:spMkLst>
        </pc:spChg>
        <pc:graphicFrameChg chg="mod modGraphic">
          <ac:chgData name="Cai, Siyan" userId="c05b90bb-2bc8-44ab-ad43-2e6ade3411ba" providerId="ADAL" clId="{C54958F0-C461-B24E-AE79-787D70F5A7E5}" dt="2021-12-02T05:25:37.571" v="4032" actId="403"/>
          <ac:graphicFrameMkLst>
            <pc:docMk/>
            <pc:sldMk cId="2062797621" sldId="292"/>
            <ac:graphicFrameMk id="7" creationId="{A6625AB5-8AD4-4EF7-81BF-428CCF9B410B}"/>
          </ac:graphicFrameMkLst>
        </pc:graphicFrameChg>
      </pc:sldChg>
      <pc:sldChg chg="addSp delSp modSp mod">
        <pc:chgData name="Cai, Siyan" userId="c05b90bb-2bc8-44ab-ad43-2e6ade3411ba" providerId="ADAL" clId="{C54958F0-C461-B24E-AE79-787D70F5A7E5}" dt="2021-12-02T04:48:14.176" v="3468" actId="20577"/>
        <pc:sldMkLst>
          <pc:docMk/>
          <pc:sldMk cId="640890212" sldId="293"/>
        </pc:sldMkLst>
        <pc:spChg chg="mod">
          <ac:chgData name="Cai, Siyan" userId="c05b90bb-2bc8-44ab-ad43-2e6ade3411ba" providerId="ADAL" clId="{C54958F0-C461-B24E-AE79-787D70F5A7E5}" dt="2021-12-02T02:48:47.664" v="3016" actId="20577"/>
          <ac:spMkLst>
            <pc:docMk/>
            <pc:sldMk cId="640890212" sldId="293"/>
            <ac:spMk id="2" creationId="{40A6E5A0-1ED6-4453-B403-9B92761D30F3}"/>
          </ac:spMkLst>
        </pc:spChg>
        <pc:spChg chg="del mod">
          <ac:chgData name="Cai, Siyan" userId="c05b90bb-2bc8-44ab-ad43-2e6ade3411ba" providerId="ADAL" clId="{C54958F0-C461-B24E-AE79-787D70F5A7E5}" dt="2021-12-02T04:48:12.407" v="3466" actId="478"/>
          <ac:spMkLst>
            <pc:docMk/>
            <pc:sldMk cId="640890212" sldId="293"/>
            <ac:spMk id="4" creationId="{F0492C0D-8164-4C4F-BA06-E952AF0A83BE}"/>
          </ac:spMkLst>
        </pc:spChg>
        <pc:spChg chg="mod">
          <ac:chgData name="Cai, Siyan" userId="c05b90bb-2bc8-44ab-ad43-2e6ade3411ba" providerId="ADAL" clId="{C54958F0-C461-B24E-AE79-787D70F5A7E5}" dt="2021-12-02T02:50:20.592" v="3064" actId="1076"/>
          <ac:spMkLst>
            <pc:docMk/>
            <pc:sldMk cId="640890212" sldId="293"/>
            <ac:spMk id="6" creationId="{D582D663-7603-4DF6-8414-18F34F57277C}"/>
          </ac:spMkLst>
        </pc:spChg>
        <pc:spChg chg="add del mod">
          <ac:chgData name="Cai, Siyan" userId="c05b90bb-2bc8-44ab-ad43-2e6ade3411ba" providerId="ADAL" clId="{C54958F0-C461-B24E-AE79-787D70F5A7E5}" dt="2021-12-02T02:51:39.967" v="3069"/>
          <ac:spMkLst>
            <pc:docMk/>
            <pc:sldMk cId="640890212" sldId="293"/>
            <ac:spMk id="7" creationId="{AB58A94C-CC7C-0E4C-A140-43BD91CD554D}"/>
          </ac:spMkLst>
        </pc:spChg>
        <pc:spChg chg="add mod">
          <ac:chgData name="Cai, Siyan" userId="c05b90bb-2bc8-44ab-ad43-2e6ade3411ba" providerId="ADAL" clId="{C54958F0-C461-B24E-AE79-787D70F5A7E5}" dt="2021-12-02T02:51:56.545" v="3088" actId="1036"/>
          <ac:spMkLst>
            <pc:docMk/>
            <pc:sldMk cId="640890212" sldId="293"/>
            <ac:spMk id="8" creationId="{5BE3EBE5-17FB-C141-9603-208058FECF23}"/>
          </ac:spMkLst>
        </pc:spChg>
        <pc:spChg chg="add mod">
          <ac:chgData name="Cai, Siyan" userId="c05b90bb-2bc8-44ab-ad43-2e6ade3411ba" providerId="ADAL" clId="{C54958F0-C461-B24E-AE79-787D70F5A7E5}" dt="2021-12-02T02:54:12.482" v="3097" actId="207"/>
          <ac:spMkLst>
            <pc:docMk/>
            <pc:sldMk cId="640890212" sldId="293"/>
            <ac:spMk id="9" creationId="{88A2AD4E-3618-8042-BF82-69F10D146CCE}"/>
          </ac:spMkLst>
        </pc:spChg>
        <pc:spChg chg="add mod">
          <ac:chgData name="Cai, Siyan" userId="c05b90bb-2bc8-44ab-ad43-2e6ade3411ba" providerId="ADAL" clId="{C54958F0-C461-B24E-AE79-787D70F5A7E5}" dt="2021-12-02T04:48:14.176" v="3468" actId="20577"/>
          <ac:spMkLst>
            <pc:docMk/>
            <pc:sldMk cId="640890212" sldId="293"/>
            <ac:spMk id="10" creationId="{8F056738-58DA-0646-AC81-930256358C2C}"/>
          </ac:spMkLst>
        </pc:spChg>
        <pc:picChg chg="mod">
          <ac:chgData name="Cai, Siyan" userId="c05b90bb-2bc8-44ab-ad43-2e6ade3411ba" providerId="ADAL" clId="{C54958F0-C461-B24E-AE79-787D70F5A7E5}" dt="2021-12-02T02:49:43.889" v="3056" actId="1076"/>
          <ac:picMkLst>
            <pc:docMk/>
            <pc:sldMk cId="640890212" sldId="293"/>
            <ac:picMk id="5" creationId="{627D7109-EC9F-4A58-A412-1CFCC8FCF0AE}"/>
          </ac:picMkLst>
        </pc:picChg>
      </pc:sldChg>
      <pc:sldChg chg="addSp delSp modSp mod">
        <pc:chgData name="Cai, Siyan" userId="c05b90bb-2bc8-44ab-ad43-2e6ade3411ba" providerId="ADAL" clId="{C54958F0-C461-B24E-AE79-787D70F5A7E5}" dt="2021-12-02T05:28:03.318" v="4060" actId="1076"/>
        <pc:sldMkLst>
          <pc:docMk/>
          <pc:sldMk cId="2547353150" sldId="294"/>
        </pc:sldMkLst>
        <pc:spChg chg="mod">
          <ac:chgData name="Cai, Siyan" userId="c05b90bb-2bc8-44ab-ad43-2e6ade3411ba" providerId="ADAL" clId="{C54958F0-C461-B24E-AE79-787D70F5A7E5}" dt="2021-12-02T04:32:03.075" v="3121" actId="20577"/>
          <ac:spMkLst>
            <pc:docMk/>
            <pc:sldMk cId="2547353150" sldId="294"/>
            <ac:spMk id="2" creationId="{40A6E5A0-1ED6-4453-B403-9B92761D30F3}"/>
          </ac:spMkLst>
        </pc:spChg>
        <pc:spChg chg="del">
          <ac:chgData name="Cai, Siyan" userId="c05b90bb-2bc8-44ab-ad43-2e6ade3411ba" providerId="ADAL" clId="{C54958F0-C461-B24E-AE79-787D70F5A7E5}" dt="2021-12-02T05:17:43.117" v="3915" actId="478"/>
          <ac:spMkLst>
            <pc:docMk/>
            <pc:sldMk cId="2547353150" sldId="294"/>
            <ac:spMk id="3" creationId="{B2D7E8BB-BC9A-4EB4-B939-E2DEE946BF07}"/>
          </ac:spMkLst>
        </pc:spChg>
        <pc:spChg chg="add mod">
          <ac:chgData name="Cai, Siyan" userId="c05b90bb-2bc8-44ab-ad43-2e6ade3411ba" providerId="ADAL" clId="{C54958F0-C461-B24E-AE79-787D70F5A7E5}" dt="2021-12-02T04:47:59.988" v="3458" actId="20577"/>
          <ac:spMkLst>
            <pc:docMk/>
            <pc:sldMk cId="2547353150" sldId="294"/>
            <ac:spMk id="4" creationId="{A1B76D1D-B370-DB44-84C9-3AC23AA8FEA8}"/>
          </ac:spMkLst>
        </pc:spChg>
        <pc:spChg chg="mod">
          <ac:chgData name="Cai, Siyan" userId="c05b90bb-2bc8-44ab-ad43-2e6ade3411ba" providerId="ADAL" clId="{C54958F0-C461-B24E-AE79-787D70F5A7E5}" dt="2021-12-02T05:26:48.948" v="4050" actId="403"/>
          <ac:spMkLst>
            <pc:docMk/>
            <pc:sldMk cId="2547353150" sldId="294"/>
            <ac:spMk id="6" creationId="{612BCE95-90F1-D34B-A1F6-6D475FBF81FB}"/>
          </ac:spMkLst>
        </pc:spChg>
        <pc:spChg chg="mod">
          <ac:chgData name="Cai, Siyan" userId="c05b90bb-2bc8-44ab-ad43-2e6ade3411ba" providerId="ADAL" clId="{C54958F0-C461-B24E-AE79-787D70F5A7E5}" dt="2021-12-02T05:17:43.516" v="3916"/>
          <ac:spMkLst>
            <pc:docMk/>
            <pc:sldMk cId="2547353150" sldId="294"/>
            <ac:spMk id="11" creationId="{F4D10AE0-2732-E545-9852-FC56996E416A}"/>
          </ac:spMkLst>
        </pc:spChg>
        <pc:spChg chg="mod">
          <ac:chgData name="Cai, Siyan" userId="c05b90bb-2bc8-44ab-ad43-2e6ade3411ba" providerId="ADAL" clId="{C54958F0-C461-B24E-AE79-787D70F5A7E5}" dt="2021-12-02T05:17:43.516" v="3916"/>
          <ac:spMkLst>
            <pc:docMk/>
            <pc:sldMk cId="2547353150" sldId="294"/>
            <ac:spMk id="13" creationId="{93BDA02D-1D2A-A547-8074-72829433596E}"/>
          </ac:spMkLst>
        </pc:spChg>
        <pc:spChg chg="mod">
          <ac:chgData name="Cai, Siyan" userId="c05b90bb-2bc8-44ab-ad43-2e6ade3411ba" providerId="ADAL" clId="{C54958F0-C461-B24E-AE79-787D70F5A7E5}" dt="2021-12-02T05:26:42.429" v="4048" actId="404"/>
          <ac:spMkLst>
            <pc:docMk/>
            <pc:sldMk cId="2547353150" sldId="294"/>
            <ac:spMk id="14" creationId="{0322B5E5-7AA9-2E41-BB1F-89DC3845A6C4}"/>
          </ac:spMkLst>
        </pc:spChg>
        <pc:spChg chg="mod">
          <ac:chgData name="Cai, Siyan" userId="c05b90bb-2bc8-44ab-ad43-2e6ade3411ba" providerId="ADAL" clId="{C54958F0-C461-B24E-AE79-787D70F5A7E5}" dt="2021-12-02T05:17:43.516" v="3916"/>
          <ac:spMkLst>
            <pc:docMk/>
            <pc:sldMk cId="2547353150" sldId="294"/>
            <ac:spMk id="15" creationId="{9FD47511-6423-584C-AFED-74A6CECDBC67}"/>
          </ac:spMkLst>
        </pc:spChg>
        <pc:spChg chg="mod">
          <ac:chgData name="Cai, Siyan" userId="c05b90bb-2bc8-44ab-ad43-2e6ade3411ba" providerId="ADAL" clId="{C54958F0-C461-B24E-AE79-787D70F5A7E5}" dt="2021-12-02T05:17:43.516" v="3916"/>
          <ac:spMkLst>
            <pc:docMk/>
            <pc:sldMk cId="2547353150" sldId="294"/>
            <ac:spMk id="17" creationId="{C3B10795-A1E1-B34D-83D0-0B54028ABDF1}"/>
          </ac:spMkLst>
        </pc:spChg>
        <pc:spChg chg="mod">
          <ac:chgData name="Cai, Siyan" userId="c05b90bb-2bc8-44ab-ad43-2e6ade3411ba" providerId="ADAL" clId="{C54958F0-C461-B24E-AE79-787D70F5A7E5}" dt="2021-12-02T05:26:22.213" v="4040" actId="2711"/>
          <ac:spMkLst>
            <pc:docMk/>
            <pc:sldMk cId="2547353150" sldId="294"/>
            <ac:spMk id="18" creationId="{8CE62B1D-F462-A048-A611-97152C02A030}"/>
          </ac:spMkLst>
        </pc:spChg>
        <pc:spChg chg="mod">
          <ac:chgData name="Cai, Siyan" userId="c05b90bb-2bc8-44ab-ad43-2e6ade3411ba" providerId="ADAL" clId="{C54958F0-C461-B24E-AE79-787D70F5A7E5}" dt="2021-12-02T05:26:32.846" v="4044" actId="403"/>
          <ac:spMkLst>
            <pc:docMk/>
            <pc:sldMk cId="2547353150" sldId="294"/>
            <ac:spMk id="19" creationId="{AE81C0CE-27F9-8E45-95EE-FDCA9E10C45D}"/>
          </ac:spMkLst>
        </pc:spChg>
        <pc:spChg chg="mod">
          <ac:chgData name="Cai, Siyan" userId="c05b90bb-2bc8-44ab-ad43-2e6ade3411ba" providerId="ADAL" clId="{C54958F0-C461-B24E-AE79-787D70F5A7E5}" dt="2021-12-02T05:17:43.516" v="3916"/>
          <ac:spMkLst>
            <pc:docMk/>
            <pc:sldMk cId="2547353150" sldId="294"/>
            <ac:spMk id="20" creationId="{818888FD-8FA0-D54B-898D-0867642BD994}"/>
          </ac:spMkLst>
        </pc:spChg>
        <pc:spChg chg="mod">
          <ac:chgData name="Cai, Siyan" userId="c05b90bb-2bc8-44ab-ad43-2e6ade3411ba" providerId="ADAL" clId="{C54958F0-C461-B24E-AE79-787D70F5A7E5}" dt="2021-12-02T05:17:43.516" v="3916"/>
          <ac:spMkLst>
            <pc:docMk/>
            <pc:sldMk cId="2547353150" sldId="294"/>
            <ac:spMk id="22" creationId="{7D093BE8-9F33-174E-93C5-BBCD8F25B94C}"/>
          </ac:spMkLst>
        </pc:spChg>
        <pc:spChg chg="mod">
          <ac:chgData name="Cai, Siyan" userId="c05b90bb-2bc8-44ab-ad43-2e6ade3411ba" providerId="ADAL" clId="{C54958F0-C461-B24E-AE79-787D70F5A7E5}" dt="2021-12-02T05:26:10.133" v="4034" actId="403"/>
          <ac:spMkLst>
            <pc:docMk/>
            <pc:sldMk cId="2547353150" sldId="294"/>
            <ac:spMk id="23" creationId="{50D220D7-63C2-3B43-AAAD-04933DBAECAC}"/>
          </ac:spMkLst>
        </pc:spChg>
        <pc:spChg chg="mod">
          <ac:chgData name="Cai, Siyan" userId="c05b90bb-2bc8-44ab-ad43-2e6ade3411ba" providerId="ADAL" clId="{C54958F0-C461-B24E-AE79-787D70F5A7E5}" dt="2021-12-02T05:26:16.899" v="4038" actId="403"/>
          <ac:spMkLst>
            <pc:docMk/>
            <pc:sldMk cId="2547353150" sldId="294"/>
            <ac:spMk id="24" creationId="{B075C41E-4252-2E46-8502-CC1A8567883F}"/>
          </ac:spMkLst>
        </pc:spChg>
        <pc:spChg chg="add mod">
          <ac:chgData name="Cai, Siyan" userId="c05b90bb-2bc8-44ab-ad43-2e6ade3411ba" providerId="ADAL" clId="{C54958F0-C461-B24E-AE79-787D70F5A7E5}" dt="2021-12-02T05:22:36.592" v="3963" actId="1076"/>
          <ac:spMkLst>
            <pc:docMk/>
            <pc:sldMk cId="2547353150" sldId="294"/>
            <ac:spMk id="25" creationId="{1CD3759F-8CA3-A648-B0E3-F5D1AB038CAA}"/>
          </ac:spMkLst>
        </pc:spChg>
        <pc:spChg chg="add mod">
          <ac:chgData name="Cai, Siyan" userId="c05b90bb-2bc8-44ab-ad43-2e6ade3411ba" providerId="ADAL" clId="{C54958F0-C461-B24E-AE79-787D70F5A7E5}" dt="2021-12-02T05:27:33.906" v="4056" actId="1076"/>
          <ac:spMkLst>
            <pc:docMk/>
            <pc:sldMk cId="2547353150" sldId="294"/>
            <ac:spMk id="26" creationId="{B1A07806-8BF2-4B46-B86B-5CE8CA124D2F}"/>
          </ac:spMkLst>
        </pc:spChg>
        <pc:spChg chg="add mod">
          <ac:chgData name="Cai, Siyan" userId="c05b90bb-2bc8-44ab-ad43-2e6ade3411ba" providerId="ADAL" clId="{C54958F0-C461-B24E-AE79-787D70F5A7E5}" dt="2021-12-02T05:28:03.318" v="4060" actId="1076"/>
          <ac:spMkLst>
            <pc:docMk/>
            <pc:sldMk cId="2547353150" sldId="294"/>
            <ac:spMk id="27" creationId="{F0F51113-B77A-6D42-9D31-53676B565531}"/>
          </ac:spMkLst>
        </pc:spChg>
        <pc:grpChg chg="add mod">
          <ac:chgData name="Cai, Siyan" userId="c05b90bb-2bc8-44ab-ad43-2e6ade3411ba" providerId="ADAL" clId="{C54958F0-C461-B24E-AE79-787D70F5A7E5}" dt="2021-12-02T05:27:28.343" v="4055" actId="1076"/>
          <ac:grpSpMkLst>
            <pc:docMk/>
            <pc:sldMk cId="2547353150" sldId="294"/>
            <ac:grpSpMk id="5" creationId="{1D67BD88-1923-4F4F-BA8F-6252D4B4C0D6}"/>
          </ac:grpSpMkLst>
        </pc:grpChg>
        <pc:grpChg chg="mod">
          <ac:chgData name="Cai, Siyan" userId="c05b90bb-2bc8-44ab-ad43-2e6ade3411ba" providerId="ADAL" clId="{C54958F0-C461-B24E-AE79-787D70F5A7E5}" dt="2021-12-02T05:17:43.516" v="3916"/>
          <ac:grpSpMkLst>
            <pc:docMk/>
            <pc:sldMk cId="2547353150" sldId="294"/>
            <ac:grpSpMk id="7" creationId="{F4300D05-5897-2E4A-8E41-DF5A617B730C}"/>
          </ac:grpSpMkLst>
        </pc:grpChg>
        <pc:grpChg chg="mod">
          <ac:chgData name="Cai, Siyan" userId="c05b90bb-2bc8-44ab-ad43-2e6ade3411ba" providerId="ADAL" clId="{C54958F0-C461-B24E-AE79-787D70F5A7E5}" dt="2021-12-02T05:17:43.516" v="3916"/>
          <ac:grpSpMkLst>
            <pc:docMk/>
            <pc:sldMk cId="2547353150" sldId="294"/>
            <ac:grpSpMk id="8" creationId="{66C2478F-8A66-5B4C-8699-6C31E40488D8}"/>
          </ac:grpSpMkLst>
        </pc:grpChg>
        <pc:grpChg chg="mod">
          <ac:chgData name="Cai, Siyan" userId="c05b90bb-2bc8-44ab-ad43-2e6ade3411ba" providerId="ADAL" clId="{C54958F0-C461-B24E-AE79-787D70F5A7E5}" dt="2021-12-02T05:17:43.516" v="3916"/>
          <ac:grpSpMkLst>
            <pc:docMk/>
            <pc:sldMk cId="2547353150" sldId="294"/>
            <ac:grpSpMk id="9" creationId="{3843F28C-8BF4-2149-8672-F06404871EBD}"/>
          </ac:grpSpMkLst>
        </pc:grpChg>
        <pc:grpChg chg="mod">
          <ac:chgData name="Cai, Siyan" userId="c05b90bb-2bc8-44ab-ad43-2e6ade3411ba" providerId="ADAL" clId="{C54958F0-C461-B24E-AE79-787D70F5A7E5}" dt="2021-12-02T05:17:43.516" v="3916"/>
          <ac:grpSpMkLst>
            <pc:docMk/>
            <pc:sldMk cId="2547353150" sldId="294"/>
            <ac:grpSpMk id="10" creationId="{EE275D1D-7E2F-044D-958B-F3E65E80240C}"/>
          </ac:grpSpMkLst>
        </pc:grpChg>
        <pc:cxnChg chg="mod">
          <ac:chgData name="Cai, Siyan" userId="c05b90bb-2bc8-44ab-ad43-2e6ade3411ba" providerId="ADAL" clId="{C54958F0-C461-B24E-AE79-787D70F5A7E5}" dt="2021-12-02T05:17:43.516" v="3916"/>
          <ac:cxnSpMkLst>
            <pc:docMk/>
            <pc:sldMk cId="2547353150" sldId="294"/>
            <ac:cxnSpMk id="12" creationId="{0C297D9F-8654-4045-AA20-03744EDA3584}"/>
          </ac:cxnSpMkLst>
        </pc:cxnChg>
        <pc:cxnChg chg="mod">
          <ac:chgData name="Cai, Siyan" userId="c05b90bb-2bc8-44ab-ad43-2e6ade3411ba" providerId="ADAL" clId="{C54958F0-C461-B24E-AE79-787D70F5A7E5}" dt="2021-12-02T05:17:43.516" v="3916"/>
          <ac:cxnSpMkLst>
            <pc:docMk/>
            <pc:sldMk cId="2547353150" sldId="294"/>
            <ac:cxnSpMk id="16" creationId="{556A0FD2-A2F9-9D48-B1AE-772F51BCF6A0}"/>
          </ac:cxnSpMkLst>
        </pc:cxnChg>
        <pc:cxnChg chg="mod">
          <ac:chgData name="Cai, Siyan" userId="c05b90bb-2bc8-44ab-ad43-2e6ade3411ba" providerId="ADAL" clId="{C54958F0-C461-B24E-AE79-787D70F5A7E5}" dt="2021-12-02T05:17:43.516" v="3916"/>
          <ac:cxnSpMkLst>
            <pc:docMk/>
            <pc:sldMk cId="2547353150" sldId="294"/>
            <ac:cxnSpMk id="21" creationId="{CBC1C53C-B11A-974C-9D70-46093E6246E9}"/>
          </ac:cxnSpMkLst>
        </pc:cxnChg>
      </pc:sldChg>
      <pc:sldChg chg="addSp modSp mod">
        <pc:chgData name="Cai, Siyan" userId="c05b90bb-2bc8-44ab-ad43-2e6ade3411ba" providerId="ADAL" clId="{C54958F0-C461-B24E-AE79-787D70F5A7E5}" dt="2021-12-02T05:25:21.540" v="4030" actId="20577"/>
        <pc:sldMkLst>
          <pc:docMk/>
          <pc:sldMk cId="3548994513" sldId="295"/>
        </pc:sldMkLst>
        <pc:spChg chg="mod">
          <ac:chgData name="Cai, Siyan" userId="c05b90bb-2bc8-44ab-ad43-2e6ade3411ba" providerId="ADAL" clId="{C54958F0-C461-B24E-AE79-787D70F5A7E5}" dt="2021-12-02T04:32:14.224" v="3143" actId="20577"/>
          <ac:spMkLst>
            <pc:docMk/>
            <pc:sldMk cId="3548994513" sldId="295"/>
            <ac:spMk id="2" creationId="{40A6E5A0-1ED6-4453-B403-9B92761D30F3}"/>
          </ac:spMkLst>
        </pc:spChg>
        <pc:spChg chg="mod">
          <ac:chgData name="Cai, Siyan" userId="c05b90bb-2bc8-44ab-ad43-2e6ade3411ba" providerId="ADAL" clId="{C54958F0-C461-B24E-AE79-787D70F5A7E5}" dt="2021-12-02T05:25:21.540" v="4030" actId="20577"/>
          <ac:spMkLst>
            <pc:docMk/>
            <pc:sldMk cId="3548994513" sldId="295"/>
            <ac:spMk id="3" creationId="{B2D7E8BB-BC9A-4EB4-B939-E2DEE946BF07}"/>
          </ac:spMkLst>
        </pc:spChg>
        <pc:spChg chg="add mod">
          <ac:chgData name="Cai, Siyan" userId="c05b90bb-2bc8-44ab-ad43-2e6ade3411ba" providerId="ADAL" clId="{C54958F0-C461-B24E-AE79-787D70F5A7E5}" dt="2021-12-02T04:48:05.510" v="3461" actId="20577"/>
          <ac:spMkLst>
            <pc:docMk/>
            <pc:sldMk cId="3548994513" sldId="295"/>
            <ac:spMk id="7" creationId="{D65457F0-9297-A64C-836F-58AD77822F5C}"/>
          </ac:spMkLst>
        </pc:spChg>
        <pc:picChg chg="mod">
          <ac:chgData name="Cai, Siyan" userId="c05b90bb-2bc8-44ab-ad43-2e6ade3411ba" providerId="ADAL" clId="{C54958F0-C461-B24E-AE79-787D70F5A7E5}" dt="2021-12-02T05:19:03.068" v="3933" actId="1076"/>
          <ac:picMkLst>
            <pc:docMk/>
            <pc:sldMk cId="3548994513" sldId="295"/>
            <ac:picMk id="4" creationId="{7852D74F-FED9-4656-B074-D80388777ED6}"/>
          </ac:picMkLst>
        </pc:picChg>
        <pc:picChg chg="mod">
          <ac:chgData name="Cai, Siyan" userId="c05b90bb-2bc8-44ab-ad43-2e6ade3411ba" providerId="ADAL" clId="{C54958F0-C461-B24E-AE79-787D70F5A7E5}" dt="2021-12-02T05:19:03.068" v="3933" actId="1076"/>
          <ac:picMkLst>
            <pc:docMk/>
            <pc:sldMk cId="3548994513" sldId="295"/>
            <ac:picMk id="5" creationId="{47AA88BC-8816-4087-A9D3-78BB6EF9E471}"/>
          </ac:picMkLst>
        </pc:picChg>
        <pc:picChg chg="mod modCrop">
          <ac:chgData name="Cai, Siyan" userId="c05b90bb-2bc8-44ab-ad43-2e6ade3411ba" providerId="ADAL" clId="{C54958F0-C461-B24E-AE79-787D70F5A7E5}" dt="2021-12-02T05:19:03.068" v="3933" actId="1076"/>
          <ac:picMkLst>
            <pc:docMk/>
            <pc:sldMk cId="3548994513" sldId="295"/>
            <ac:picMk id="6" creationId="{4EF31FEF-A6E4-42A6-A39E-CB6C71D4339F}"/>
          </ac:picMkLst>
        </pc:picChg>
      </pc:sldChg>
      <pc:sldChg chg="addSp delSp modSp add mod">
        <pc:chgData name="Cai, Siyan" userId="c05b90bb-2bc8-44ab-ad43-2e6ade3411ba" providerId="ADAL" clId="{C54958F0-C461-B24E-AE79-787D70F5A7E5}" dt="2021-12-02T16:07:37.054" v="6045" actId="1076"/>
        <pc:sldMkLst>
          <pc:docMk/>
          <pc:sldMk cId="3542718566" sldId="296"/>
        </pc:sldMkLst>
        <pc:spChg chg="add del mod">
          <ac:chgData name="Cai, Siyan" userId="c05b90bb-2bc8-44ab-ad43-2e6ade3411ba" providerId="ADAL" clId="{C54958F0-C461-B24E-AE79-787D70F5A7E5}" dt="2021-12-02T16:05:37.220" v="5947" actId="478"/>
          <ac:spMkLst>
            <pc:docMk/>
            <pc:sldMk cId="3542718566" sldId="296"/>
            <ac:spMk id="3" creationId="{F3DE75E1-170C-D943-9B95-9BD74ECE2C5A}"/>
          </ac:spMkLst>
        </pc:spChg>
        <pc:spChg chg="mod">
          <ac:chgData name="Cai, Siyan" userId="c05b90bb-2bc8-44ab-ad43-2e6ade3411ba" providerId="ADAL" clId="{C54958F0-C461-B24E-AE79-787D70F5A7E5}" dt="2021-12-02T16:07:37.054" v="6045" actId="1076"/>
          <ac:spMkLst>
            <pc:docMk/>
            <pc:sldMk cId="3542718566" sldId="296"/>
            <ac:spMk id="5" creationId="{00000000-0000-0000-0000-000000000000}"/>
          </ac:spMkLst>
        </pc:spChg>
        <pc:spChg chg="del mod">
          <ac:chgData name="Cai, Siyan" userId="c05b90bb-2bc8-44ab-ad43-2e6ade3411ba" providerId="ADAL" clId="{C54958F0-C461-B24E-AE79-787D70F5A7E5}" dt="2021-12-02T16:05:35.179" v="5946" actId="478"/>
          <ac:spMkLst>
            <pc:docMk/>
            <pc:sldMk cId="3542718566" sldId="296"/>
            <ac:spMk id="6" creationId="{00000000-0000-0000-0000-000000000000}"/>
          </ac:spMkLst>
        </pc:spChg>
        <pc:spChg chg="mod">
          <ac:chgData name="Cai, Siyan" userId="c05b90bb-2bc8-44ab-ad43-2e6ade3411ba" providerId="ADAL" clId="{C54958F0-C461-B24E-AE79-787D70F5A7E5}" dt="2021-12-01T22:41:56.979" v="331" actId="20577"/>
          <ac:spMkLst>
            <pc:docMk/>
            <pc:sldMk cId="3542718566" sldId="296"/>
            <ac:spMk id="7" creationId="{04F69230-F3A6-4586-9371-A858F4763E9F}"/>
          </ac:spMkLst>
        </pc:spChg>
      </pc:sldChg>
      <pc:sldChg chg="new del">
        <pc:chgData name="Cai, Siyan" userId="c05b90bb-2bc8-44ab-ad43-2e6ade3411ba" providerId="ADAL" clId="{C54958F0-C461-B24E-AE79-787D70F5A7E5}" dt="2021-12-01T22:43:43.435" v="395" actId="2696"/>
        <pc:sldMkLst>
          <pc:docMk/>
          <pc:sldMk cId="2652899139" sldId="297"/>
        </pc:sldMkLst>
      </pc:sldChg>
      <pc:sldChg chg="addSp delSp modSp new mod">
        <pc:chgData name="Cai, Siyan" userId="c05b90bb-2bc8-44ab-ad43-2e6ade3411ba" providerId="ADAL" clId="{C54958F0-C461-B24E-AE79-787D70F5A7E5}" dt="2021-12-02T04:48:27.656" v="3479" actId="20577"/>
        <pc:sldMkLst>
          <pc:docMk/>
          <pc:sldMk cId="2978053526" sldId="297"/>
        </pc:sldMkLst>
        <pc:spChg chg="del">
          <ac:chgData name="Cai, Siyan" userId="c05b90bb-2bc8-44ab-ad43-2e6ade3411ba" providerId="ADAL" clId="{C54958F0-C461-B24E-AE79-787D70F5A7E5}" dt="2021-12-02T01:23:06.092" v="1797" actId="478"/>
          <ac:spMkLst>
            <pc:docMk/>
            <pc:sldMk cId="2978053526" sldId="297"/>
            <ac:spMk id="2" creationId="{50BF434C-E8E8-E640-A676-EE1386C826AE}"/>
          </ac:spMkLst>
        </pc:spChg>
        <pc:spChg chg="mod">
          <ac:chgData name="Cai, Siyan" userId="c05b90bb-2bc8-44ab-ad43-2e6ade3411ba" providerId="ADAL" clId="{C54958F0-C461-B24E-AE79-787D70F5A7E5}" dt="2021-12-02T01:22:45.112" v="1795" actId="14100"/>
          <ac:spMkLst>
            <pc:docMk/>
            <pc:sldMk cId="2978053526" sldId="297"/>
            <ac:spMk id="4" creationId="{4073853A-188A-7049-A321-E32DFB103E73}"/>
          </ac:spMkLst>
        </pc:spChg>
        <pc:spChg chg="del mod">
          <ac:chgData name="Cai, Siyan" userId="c05b90bb-2bc8-44ab-ad43-2e6ade3411ba" providerId="ADAL" clId="{C54958F0-C461-B24E-AE79-787D70F5A7E5}" dt="2021-12-02T02:06:43.086" v="2318" actId="478"/>
          <ac:spMkLst>
            <pc:docMk/>
            <pc:sldMk cId="2978053526" sldId="297"/>
            <ac:spMk id="5" creationId="{73DC3210-9E96-8C46-B4A8-CE8F3408D8EE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13" creationId="{CFD5190C-E9CE-6341-B1CA-1FB4F01C7632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14" creationId="{703461FA-6DE4-144F-9A36-B29B305F1796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15" creationId="{C5E726F7-D8B7-FA40-948C-34A904DAF7D4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16" creationId="{7B201788-E358-F145-BAF0-612AC8A451E0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18" creationId="{C4EEC597-BA31-0840-9C29-B0381C91DD17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20" creationId="{7C6AD46B-BB7F-CB41-A387-D3D2E6E958CF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22" creationId="{53F353DE-6418-C941-BC32-ED7FF3031982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23" creationId="{5EB68243-6FDE-B645-AEA1-45D179EA40E8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24" creationId="{2D161F11-8A40-4E42-A0CC-3F11BBD13E90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25" creationId="{CFCA40BC-C378-CF47-9520-6483CD82FC14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26" creationId="{32A2C3E4-863F-5E4C-B5C6-20D2534A4275}"/>
          </ac:spMkLst>
        </pc:spChg>
        <pc:spChg chg="mod">
          <ac:chgData name="Cai, Siyan" userId="c05b90bb-2bc8-44ab-ad43-2e6ade3411ba" providerId="ADAL" clId="{C54958F0-C461-B24E-AE79-787D70F5A7E5}" dt="2021-12-02T01:48:17.206" v="1833"/>
          <ac:spMkLst>
            <pc:docMk/>
            <pc:sldMk cId="2978053526" sldId="297"/>
            <ac:spMk id="27" creationId="{FAE66E43-5338-6C40-9852-51577A2BA9A6}"/>
          </ac:spMkLst>
        </pc:spChg>
        <pc:spChg chg="add del mod">
          <ac:chgData name="Cai, Siyan" userId="c05b90bb-2bc8-44ab-ad43-2e6ade3411ba" providerId="ADAL" clId="{C54958F0-C461-B24E-AE79-787D70F5A7E5}" dt="2021-12-02T02:06:45.975" v="2320" actId="478"/>
          <ac:spMkLst>
            <pc:docMk/>
            <pc:sldMk cId="2978053526" sldId="297"/>
            <ac:spMk id="29" creationId="{19F2A2A0-1ED1-504D-A6B4-B78BC1FF923C}"/>
          </ac:spMkLst>
        </pc:spChg>
        <pc:spChg chg="mod">
          <ac:chgData name="Cai, Siyan" userId="c05b90bb-2bc8-44ab-ad43-2e6ade3411ba" providerId="ADAL" clId="{C54958F0-C461-B24E-AE79-787D70F5A7E5}" dt="2021-12-02T02:43:15.340" v="2824" actId="14100"/>
          <ac:spMkLst>
            <pc:docMk/>
            <pc:sldMk cId="2978053526" sldId="297"/>
            <ac:spMk id="32" creationId="{BCF81BBD-59A6-9B4B-A753-186E913EE10B}"/>
          </ac:spMkLst>
        </pc:spChg>
        <pc:spChg chg="mod">
          <ac:chgData name="Cai, Siyan" userId="c05b90bb-2bc8-44ab-ad43-2e6ade3411ba" providerId="ADAL" clId="{C54958F0-C461-B24E-AE79-787D70F5A7E5}" dt="2021-12-02T02:42:54.698" v="2794" actId="14100"/>
          <ac:spMkLst>
            <pc:docMk/>
            <pc:sldMk cId="2978053526" sldId="297"/>
            <ac:spMk id="33" creationId="{40B09A2A-3915-9C44-AB97-1C77067341C3}"/>
          </ac:spMkLst>
        </pc:spChg>
        <pc:spChg chg="mod">
          <ac:chgData name="Cai, Siyan" userId="c05b90bb-2bc8-44ab-ad43-2e6ade3411ba" providerId="ADAL" clId="{C54958F0-C461-B24E-AE79-787D70F5A7E5}" dt="2021-12-02T02:43:10.809" v="2821" actId="14100"/>
          <ac:spMkLst>
            <pc:docMk/>
            <pc:sldMk cId="2978053526" sldId="297"/>
            <ac:spMk id="34" creationId="{19C9EE7D-D61D-E440-A45E-D31564BFE033}"/>
          </ac:spMkLst>
        </pc:spChg>
        <pc:spChg chg="mod">
          <ac:chgData name="Cai, Siyan" userId="c05b90bb-2bc8-44ab-ad43-2e6ade3411ba" providerId="ADAL" clId="{C54958F0-C461-B24E-AE79-787D70F5A7E5}" dt="2021-12-02T02:06:43.545" v="2319"/>
          <ac:spMkLst>
            <pc:docMk/>
            <pc:sldMk cId="2978053526" sldId="297"/>
            <ac:spMk id="35" creationId="{D1A074EF-DACA-9C4E-9B10-202C5F048D6F}"/>
          </ac:spMkLst>
        </pc:spChg>
        <pc:spChg chg="mod">
          <ac:chgData name="Cai, Siyan" userId="c05b90bb-2bc8-44ab-ad43-2e6ade3411ba" providerId="ADAL" clId="{C54958F0-C461-B24E-AE79-787D70F5A7E5}" dt="2021-12-02T02:18:27.618" v="2421" actId="1076"/>
          <ac:spMkLst>
            <pc:docMk/>
            <pc:sldMk cId="2978053526" sldId="297"/>
            <ac:spMk id="37" creationId="{7F0406A1-7187-1248-B897-33B93B06C7D6}"/>
          </ac:spMkLst>
        </pc:spChg>
        <pc:spChg chg="mod">
          <ac:chgData name="Cai, Siyan" userId="c05b90bb-2bc8-44ab-ad43-2e6ade3411ba" providerId="ADAL" clId="{C54958F0-C461-B24E-AE79-787D70F5A7E5}" dt="2021-12-02T02:18:23.656" v="2420" actId="1076"/>
          <ac:spMkLst>
            <pc:docMk/>
            <pc:sldMk cId="2978053526" sldId="297"/>
            <ac:spMk id="39" creationId="{9712B3F7-245D-4942-9A86-D0D08C48F1EB}"/>
          </ac:spMkLst>
        </pc:spChg>
        <pc:spChg chg="mod">
          <ac:chgData name="Cai, Siyan" userId="c05b90bb-2bc8-44ab-ad43-2e6ade3411ba" providerId="ADAL" clId="{C54958F0-C461-B24E-AE79-787D70F5A7E5}" dt="2021-12-02T02:43:06.031" v="2820" actId="20577"/>
          <ac:spMkLst>
            <pc:docMk/>
            <pc:sldMk cId="2978053526" sldId="297"/>
            <ac:spMk id="41" creationId="{3D1B54A5-971D-B244-B1B0-6589B66006BE}"/>
          </ac:spMkLst>
        </pc:spChg>
        <pc:spChg chg="mod">
          <ac:chgData name="Cai, Siyan" userId="c05b90bb-2bc8-44ab-ad43-2e6ade3411ba" providerId="ADAL" clId="{C54958F0-C461-B24E-AE79-787D70F5A7E5}" dt="2021-12-02T02:18:38.323" v="2423" actId="1076"/>
          <ac:spMkLst>
            <pc:docMk/>
            <pc:sldMk cId="2978053526" sldId="297"/>
            <ac:spMk id="42" creationId="{DA1EAC1C-739C-7447-97C2-992BCD68F273}"/>
          </ac:spMkLst>
        </pc:spChg>
        <pc:spChg chg="mod">
          <ac:chgData name="Cai, Siyan" userId="c05b90bb-2bc8-44ab-ad43-2e6ade3411ba" providerId="ADAL" clId="{C54958F0-C461-B24E-AE79-787D70F5A7E5}" dt="2021-12-02T02:42:49.925" v="2793" actId="20577"/>
          <ac:spMkLst>
            <pc:docMk/>
            <pc:sldMk cId="2978053526" sldId="297"/>
            <ac:spMk id="43" creationId="{E579AD57-17D2-514B-9F19-7F11E7535C53}"/>
          </ac:spMkLst>
        </pc:spChg>
        <pc:spChg chg="mod">
          <ac:chgData name="Cai, Siyan" userId="c05b90bb-2bc8-44ab-ad43-2e6ade3411ba" providerId="ADAL" clId="{C54958F0-C461-B24E-AE79-787D70F5A7E5}" dt="2021-12-02T02:18:35.398" v="2422" actId="1076"/>
          <ac:spMkLst>
            <pc:docMk/>
            <pc:sldMk cId="2978053526" sldId="297"/>
            <ac:spMk id="44" creationId="{289ECEAC-4C12-1F42-B3E4-89D228BEB4F0}"/>
          </ac:spMkLst>
        </pc:spChg>
        <pc:spChg chg="mod">
          <ac:chgData name="Cai, Siyan" userId="c05b90bb-2bc8-44ab-ad43-2e6ade3411ba" providerId="ADAL" clId="{C54958F0-C461-B24E-AE79-787D70F5A7E5}" dt="2021-12-02T02:09:05.588" v="2373" actId="404"/>
          <ac:spMkLst>
            <pc:docMk/>
            <pc:sldMk cId="2978053526" sldId="297"/>
            <ac:spMk id="45" creationId="{17115187-C8FE-7B47-93D1-F16820C9153C}"/>
          </ac:spMkLst>
        </pc:spChg>
        <pc:spChg chg="mod">
          <ac:chgData name="Cai, Siyan" userId="c05b90bb-2bc8-44ab-ad43-2e6ade3411ba" providerId="ADAL" clId="{C54958F0-C461-B24E-AE79-787D70F5A7E5}" dt="2021-12-02T02:17:49.740" v="2409" actId="14100"/>
          <ac:spMkLst>
            <pc:docMk/>
            <pc:sldMk cId="2978053526" sldId="297"/>
            <ac:spMk id="46" creationId="{2CF3D14B-6C1E-D14B-AE9B-120D400D8F7A}"/>
          </ac:spMkLst>
        </pc:spChg>
        <pc:spChg chg="add mod">
          <ac:chgData name="Cai, Siyan" userId="c05b90bb-2bc8-44ab-ad43-2e6ade3411ba" providerId="ADAL" clId="{C54958F0-C461-B24E-AE79-787D70F5A7E5}" dt="2021-12-02T04:48:27.656" v="3479" actId="20577"/>
          <ac:spMkLst>
            <pc:docMk/>
            <pc:sldMk cId="2978053526" sldId="297"/>
            <ac:spMk id="49" creationId="{2ECD1D83-5815-374F-81A0-DD06E4382820}"/>
          </ac:spMkLst>
        </pc:spChg>
        <pc:grpChg chg="add del mod">
          <ac:chgData name="Cai, Siyan" userId="c05b90bb-2bc8-44ab-ad43-2e6ade3411ba" providerId="ADAL" clId="{C54958F0-C461-B24E-AE79-787D70F5A7E5}" dt="2021-12-02T01:48:19.584" v="1836"/>
          <ac:grpSpMkLst>
            <pc:docMk/>
            <pc:sldMk cId="2978053526" sldId="297"/>
            <ac:grpSpMk id="11" creationId="{ED99E3BA-AAEA-3F4E-A755-5A48F55FF0EE}"/>
          </ac:grpSpMkLst>
        </pc:grpChg>
        <pc:grpChg chg="mod">
          <ac:chgData name="Cai, Siyan" userId="c05b90bb-2bc8-44ab-ad43-2e6ade3411ba" providerId="ADAL" clId="{C54958F0-C461-B24E-AE79-787D70F5A7E5}" dt="2021-12-02T01:48:17.206" v="1833"/>
          <ac:grpSpMkLst>
            <pc:docMk/>
            <pc:sldMk cId="2978053526" sldId="297"/>
            <ac:grpSpMk id="17" creationId="{DA6E32DB-35D7-354F-A2DF-815C2A2901F4}"/>
          </ac:grpSpMkLst>
        </pc:grpChg>
        <pc:grpChg chg="mod">
          <ac:chgData name="Cai, Siyan" userId="c05b90bb-2bc8-44ab-ad43-2e6ade3411ba" providerId="ADAL" clId="{C54958F0-C461-B24E-AE79-787D70F5A7E5}" dt="2021-12-02T01:48:17.206" v="1833"/>
          <ac:grpSpMkLst>
            <pc:docMk/>
            <pc:sldMk cId="2978053526" sldId="297"/>
            <ac:grpSpMk id="19" creationId="{D3D1CF54-A1BB-244C-9197-B11711A89C82}"/>
          </ac:grpSpMkLst>
        </pc:grpChg>
        <pc:grpChg chg="mod">
          <ac:chgData name="Cai, Siyan" userId="c05b90bb-2bc8-44ab-ad43-2e6ade3411ba" providerId="ADAL" clId="{C54958F0-C461-B24E-AE79-787D70F5A7E5}" dt="2021-12-02T01:48:17.206" v="1833"/>
          <ac:grpSpMkLst>
            <pc:docMk/>
            <pc:sldMk cId="2978053526" sldId="297"/>
            <ac:grpSpMk id="21" creationId="{BF3DD0A8-D4B4-6E48-AAA5-EAE0A73390DE}"/>
          </ac:grpSpMkLst>
        </pc:grpChg>
        <pc:grpChg chg="add mod">
          <ac:chgData name="Cai, Siyan" userId="c05b90bb-2bc8-44ab-ad43-2e6ade3411ba" providerId="ADAL" clId="{C54958F0-C461-B24E-AE79-787D70F5A7E5}" dt="2021-12-02T02:17:30.734" v="2404" actId="1076"/>
          <ac:grpSpMkLst>
            <pc:docMk/>
            <pc:sldMk cId="2978053526" sldId="297"/>
            <ac:grpSpMk id="30" creationId="{AA034B1A-275A-3441-AF3F-B8A93D4DA25D}"/>
          </ac:grpSpMkLst>
        </pc:grpChg>
        <pc:grpChg chg="mod">
          <ac:chgData name="Cai, Siyan" userId="c05b90bb-2bc8-44ab-ad43-2e6ade3411ba" providerId="ADAL" clId="{C54958F0-C461-B24E-AE79-787D70F5A7E5}" dt="2021-12-02T02:06:43.545" v="2319"/>
          <ac:grpSpMkLst>
            <pc:docMk/>
            <pc:sldMk cId="2978053526" sldId="297"/>
            <ac:grpSpMk id="36" creationId="{493C93BD-A054-164E-AD5F-D6F809BCB091}"/>
          </ac:grpSpMkLst>
        </pc:grpChg>
        <pc:grpChg chg="mod">
          <ac:chgData name="Cai, Siyan" userId="c05b90bb-2bc8-44ab-ad43-2e6ade3411ba" providerId="ADAL" clId="{C54958F0-C461-B24E-AE79-787D70F5A7E5}" dt="2021-12-02T02:06:43.545" v="2319"/>
          <ac:grpSpMkLst>
            <pc:docMk/>
            <pc:sldMk cId="2978053526" sldId="297"/>
            <ac:grpSpMk id="38" creationId="{1BA4A584-47FB-4D4A-A01B-A2C94A34A5C1}"/>
          </ac:grpSpMkLst>
        </pc:grpChg>
        <pc:grpChg chg="mod">
          <ac:chgData name="Cai, Siyan" userId="c05b90bb-2bc8-44ab-ad43-2e6ade3411ba" providerId="ADAL" clId="{C54958F0-C461-B24E-AE79-787D70F5A7E5}" dt="2021-12-02T02:06:43.545" v="2319"/>
          <ac:grpSpMkLst>
            <pc:docMk/>
            <pc:sldMk cId="2978053526" sldId="297"/>
            <ac:grpSpMk id="40" creationId="{E22F2CD9-0FD7-784F-9C28-2769B38A3921}"/>
          </ac:grpSpMkLst>
        </pc:grpChg>
        <pc:graphicFrameChg chg="add mod modGraphic">
          <ac:chgData name="Cai, Siyan" userId="c05b90bb-2bc8-44ab-ad43-2e6ade3411ba" providerId="ADAL" clId="{C54958F0-C461-B24E-AE79-787D70F5A7E5}" dt="2021-12-02T02:17:24.995" v="2403" actId="1076"/>
          <ac:graphicFrameMkLst>
            <pc:docMk/>
            <pc:sldMk cId="2978053526" sldId="297"/>
            <ac:graphicFrameMk id="6" creationId="{43069900-95EC-334B-A05E-DE13935B6373}"/>
          </ac:graphicFrameMkLst>
        </pc:graphicFrameChg>
        <pc:picChg chg="add del mod">
          <ac:chgData name="Cai, Siyan" userId="c05b90bb-2bc8-44ab-ad43-2e6ade3411ba" providerId="ADAL" clId="{C54958F0-C461-B24E-AE79-787D70F5A7E5}" dt="2021-12-02T01:34:30.700" v="1808" actId="478"/>
          <ac:picMkLst>
            <pc:docMk/>
            <pc:sldMk cId="2978053526" sldId="297"/>
            <ac:picMk id="7" creationId="{F54A8B69-826D-8245-9072-7F77A0FF63DB}"/>
          </ac:picMkLst>
        </pc:picChg>
        <pc:picChg chg="add del mod">
          <ac:chgData name="Cai, Siyan" userId="c05b90bb-2bc8-44ab-ad43-2e6ade3411ba" providerId="ADAL" clId="{C54958F0-C461-B24E-AE79-787D70F5A7E5}" dt="2021-12-02T01:34:12.457" v="1802" actId="478"/>
          <ac:picMkLst>
            <pc:docMk/>
            <pc:sldMk cId="2978053526" sldId="297"/>
            <ac:picMk id="8" creationId="{8166021E-7620-DC4A-BB5E-3B7B4D636292}"/>
          </ac:picMkLst>
        </pc:picChg>
        <pc:picChg chg="add mod">
          <ac:chgData name="Cai, Siyan" userId="c05b90bb-2bc8-44ab-ad43-2e6ade3411ba" providerId="ADAL" clId="{C54958F0-C461-B24E-AE79-787D70F5A7E5}" dt="2021-12-02T02:18:46.683" v="2425" actId="1076"/>
          <ac:picMkLst>
            <pc:docMk/>
            <pc:sldMk cId="2978053526" sldId="297"/>
            <ac:picMk id="9" creationId="{D95CB597-D7AA-374D-8478-2FB22D64025F}"/>
          </ac:picMkLst>
        </pc:picChg>
        <pc:picChg chg="add mod">
          <ac:chgData name="Cai, Siyan" userId="c05b90bb-2bc8-44ab-ad43-2e6ade3411ba" providerId="ADAL" clId="{C54958F0-C461-B24E-AE79-787D70F5A7E5}" dt="2021-12-02T02:18:44.594" v="2424" actId="1076"/>
          <ac:picMkLst>
            <pc:docMk/>
            <pc:sldMk cId="2978053526" sldId="297"/>
            <ac:picMk id="10" creationId="{6E834AE5-B44D-0C46-A46B-D6E1C943868E}"/>
          </ac:picMkLst>
        </pc:picChg>
        <pc:cxnChg chg="mod">
          <ac:chgData name="Cai, Siyan" userId="c05b90bb-2bc8-44ab-ad43-2e6ade3411ba" providerId="ADAL" clId="{C54958F0-C461-B24E-AE79-787D70F5A7E5}" dt="2021-12-02T01:48:17.206" v="1833"/>
          <ac:cxnSpMkLst>
            <pc:docMk/>
            <pc:sldMk cId="2978053526" sldId="297"/>
            <ac:cxnSpMk id="12" creationId="{D0205C91-29F7-F34A-8639-A074D2C7E7BF}"/>
          </ac:cxnSpMkLst>
        </pc:cxnChg>
        <pc:cxnChg chg="mod">
          <ac:chgData name="Cai, Siyan" userId="c05b90bb-2bc8-44ab-ad43-2e6ade3411ba" providerId="ADAL" clId="{C54958F0-C461-B24E-AE79-787D70F5A7E5}" dt="2021-12-02T02:07:56.986" v="2349" actId="14100"/>
          <ac:cxnSpMkLst>
            <pc:docMk/>
            <pc:sldMk cId="2978053526" sldId="297"/>
            <ac:cxnSpMk id="31" creationId="{3CF46AF2-0FBD-554E-B565-EA3F6BC1319F}"/>
          </ac:cxnSpMkLst>
        </pc:cxnChg>
      </pc:sldChg>
      <pc:sldChg chg="addSp delSp modSp new mod">
        <pc:chgData name="Cai, Siyan" userId="c05b90bb-2bc8-44ab-ad43-2e6ade3411ba" providerId="ADAL" clId="{C54958F0-C461-B24E-AE79-787D70F5A7E5}" dt="2021-12-02T04:48:32.244" v="3482" actId="20577"/>
        <pc:sldMkLst>
          <pc:docMk/>
          <pc:sldMk cId="3611276879" sldId="298"/>
        </pc:sldMkLst>
        <pc:spChg chg="del">
          <ac:chgData name="Cai, Siyan" userId="c05b90bb-2bc8-44ab-ad43-2e6ade3411ba" providerId="ADAL" clId="{C54958F0-C461-B24E-AE79-787D70F5A7E5}" dt="2021-12-01T23:59:50.486" v="1022" actId="478"/>
          <ac:spMkLst>
            <pc:docMk/>
            <pc:sldMk cId="3611276879" sldId="298"/>
            <ac:spMk id="2" creationId="{29F4A180-9479-DA45-AB83-8C05B2D04284}"/>
          </ac:spMkLst>
        </pc:spChg>
        <pc:spChg chg="del">
          <ac:chgData name="Cai, Siyan" userId="c05b90bb-2bc8-44ab-ad43-2e6ade3411ba" providerId="ADAL" clId="{C54958F0-C461-B24E-AE79-787D70F5A7E5}" dt="2021-12-02T02:42:11.130" v="2760" actId="478"/>
          <ac:spMkLst>
            <pc:docMk/>
            <pc:sldMk cId="3611276879" sldId="298"/>
            <ac:spMk id="3" creationId="{5F6017B0-5B52-364C-9E46-601F4CBF2CE3}"/>
          </ac:spMkLst>
        </pc:spChg>
        <pc:spChg chg="mod">
          <ac:chgData name="Cai, Siyan" userId="c05b90bb-2bc8-44ab-ad43-2e6ade3411ba" providerId="ADAL" clId="{C54958F0-C461-B24E-AE79-787D70F5A7E5}" dt="2021-12-02T02:26:22.767" v="2474" actId="20577"/>
          <ac:spMkLst>
            <pc:docMk/>
            <pc:sldMk cId="3611276879" sldId="298"/>
            <ac:spMk id="4" creationId="{8A3DD896-3981-0449-9691-4405E235E431}"/>
          </ac:spMkLst>
        </pc:spChg>
        <pc:spChg chg="mod">
          <ac:chgData name="Cai, Siyan" userId="c05b90bb-2bc8-44ab-ad43-2e6ade3411ba" providerId="ADAL" clId="{C54958F0-C461-B24E-AE79-787D70F5A7E5}" dt="2021-12-02T02:44:14.624" v="2826" actId="1076"/>
          <ac:spMkLst>
            <pc:docMk/>
            <pc:sldMk cId="3611276879" sldId="298"/>
            <ac:spMk id="5" creationId="{F59A24BB-6F23-3941-A665-EC789B58F3C8}"/>
          </ac:spMkLst>
        </pc:spChg>
        <pc:spChg chg="add del mod">
          <ac:chgData name="Cai, Siyan" userId="c05b90bb-2bc8-44ab-ad43-2e6ade3411ba" providerId="ADAL" clId="{C54958F0-C461-B24E-AE79-787D70F5A7E5}" dt="2021-12-02T02:28:10.142" v="2500" actId="478"/>
          <ac:spMkLst>
            <pc:docMk/>
            <pc:sldMk cId="3611276879" sldId="298"/>
            <ac:spMk id="7" creationId="{59C8F106-57E2-3445-AFC3-4CE02D3D90C1}"/>
          </ac:spMkLst>
        </pc:spChg>
        <pc:spChg chg="add mod">
          <ac:chgData name="Cai, Siyan" userId="c05b90bb-2bc8-44ab-ad43-2e6ade3411ba" providerId="ADAL" clId="{C54958F0-C461-B24E-AE79-787D70F5A7E5}" dt="2021-12-02T02:45:45.221" v="2837" actId="1582"/>
          <ac:spMkLst>
            <pc:docMk/>
            <pc:sldMk cId="3611276879" sldId="298"/>
            <ac:spMk id="8" creationId="{65F0D479-3EAB-B347-AABD-BC97FE6F26B1}"/>
          </ac:spMkLst>
        </pc:spChg>
        <pc:spChg chg="add mod">
          <ac:chgData name="Cai, Siyan" userId="c05b90bb-2bc8-44ab-ad43-2e6ade3411ba" providerId="ADAL" clId="{C54958F0-C461-B24E-AE79-787D70F5A7E5}" dt="2021-12-02T02:34:48.859" v="2661" actId="1076"/>
          <ac:spMkLst>
            <pc:docMk/>
            <pc:sldMk cId="3611276879" sldId="298"/>
            <ac:spMk id="9" creationId="{9BA4AFB7-6F2F-6B4E-BA09-199E106436C7}"/>
          </ac:spMkLst>
        </pc:spChg>
        <pc:spChg chg="add mod">
          <ac:chgData name="Cai, Siyan" userId="c05b90bb-2bc8-44ab-ad43-2e6ade3411ba" providerId="ADAL" clId="{C54958F0-C461-B24E-AE79-787D70F5A7E5}" dt="2021-12-02T02:46:07.193" v="2842" actId="207"/>
          <ac:spMkLst>
            <pc:docMk/>
            <pc:sldMk cId="3611276879" sldId="298"/>
            <ac:spMk id="10" creationId="{8D555EDB-3B17-6A47-8890-CF70FF32637A}"/>
          </ac:spMkLst>
        </pc:spChg>
        <pc:spChg chg="add mod">
          <ac:chgData name="Cai, Siyan" userId="c05b90bb-2bc8-44ab-ad43-2e6ade3411ba" providerId="ADAL" clId="{C54958F0-C461-B24E-AE79-787D70F5A7E5}" dt="2021-12-02T02:45:39.194" v="2835" actId="693"/>
          <ac:spMkLst>
            <pc:docMk/>
            <pc:sldMk cId="3611276879" sldId="298"/>
            <ac:spMk id="11" creationId="{45318E8F-738F-B446-9F0E-600CA2A33C05}"/>
          </ac:spMkLst>
        </pc:spChg>
        <pc:spChg chg="add mod">
          <ac:chgData name="Cai, Siyan" userId="c05b90bb-2bc8-44ab-ad43-2e6ade3411ba" providerId="ADAL" clId="{C54958F0-C461-B24E-AE79-787D70F5A7E5}" dt="2021-12-02T04:48:32.244" v="3482" actId="20577"/>
          <ac:spMkLst>
            <pc:docMk/>
            <pc:sldMk cId="3611276879" sldId="298"/>
            <ac:spMk id="13" creationId="{97CAEE0E-E67B-7240-9AE0-C41DE5A61785}"/>
          </ac:spMkLst>
        </pc:spChg>
        <pc:graphicFrameChg chg="add mod modGraphic">
          <ac:chgData name="Cai, Siyan" userId="c05b90bb-2bc8-44ab-ad43-2e6ade3411ba" providerId="ADAL" clId="{C54958F0-C461-B24E-AE79-787D70F5A7E5}" dt="2021-12-02T02:44:11.284" v="2825" actId="1076"/>
          <ac:graphicFrameMkLst>
            <pc:docMk/>
            <pc:sldMk cId="3611276879" sldId="298"/>
            <ac:graphicFrameMk id="6" creationId="{8A73FC05-C66C-B247-A0B9-C024AD208DD6}"/>
          </ac:graphicFrameMkLst>
        </pc:graphicFrameChg>
        <pc:picChg chg="add mod">
          <ac:chgData name="Cai, Siyan" userId="c05b90bb-2bc8-44ab-ad43-2e6ade3411ba" providerId="ADAL" clId="{C54958F0-C461-B24E-AE79-787D70F5A7E5}" dt="2021-12-02T02:35:37.255" v="2680" actId="1076"/>
          <ac:picMkLst>
            <pc:docMk/>
            <pc:sldMk cId="3611276879" sldId="298"/>
            <ac:picMk id="31746" creationId="{E4E3B493-A3BF-3349-AF97-1D2AFA63DDE1}"/>
          </ac:picMkLst>
        </pc:picChg>
      </pc:sldChg>
      <pc:sldChg chg="addSp delSp modSp mod">
        <pc:chgData name="Cai, Siyan" userId="c05b90bb-2bc8-44ab-ad43-2e6ade3411ba" providerId="ADAL" clId="{C54958F0-C461-B24E-AE79-787D70F5A7E5}" dt="2021-12-02T15:26:10.607" v="4628" actId="1076"/>
        <pc:sldMkLst>
          <pc:docMk/>
          <pc:sldMk cId="1562830815" sldId="299"/>
        </pc:sldMkLst>
        <pc:spChg chg="del">
          <ac:chgData name="Cai, Siyan" userId="c05b90bb-2bc8-44ab-ad43-2e6ade3411ba" providerId="ADAL" clId="{C54958F0-C461-B24E-AE79-787D70F5A7E5}" dt="2021-12-02T04:48:37.176" v="3484" actId="478"/>
          <ac:spMkLst>
            <pc:docMk/>
            <pc:sldMk cId="1562830815" sldId="299"/>
            <ac:spMk id="3" creationId="{BE8892C2-4B50-4247-BCC8-1B4B7B041FCA}"/>
          </ac:spMkLst>
        </pc:spChg>
        <pc:spChg chg="add mod">
          <ac:chgData name="Cai, Siyan" userId="c05b90bb-2bc8-44ab-ad43-2e6ade3411ba" providerId="ADAL" clId="{C54958F0-C461-B24E-AE79-787D70F5A7E5}" dt="2021-12-02T15:16:17.480" v="4523" actId="1076"/>
          <ac:spMkLst>
            <pc:docMk/>
            <pc:sldMk cId="1562830815" sldId="299"/>
            <ac:spMk id="6" creationId="{8277109F-BA48-E042-A5E4-AD2A35CE910F}"/>
          </ac:spMkLst>
        </pc:spChg>
        <pc:spChg chg="mod">
          <ac:chgData name="Cai, Siyan" userId="c05b90bb-2bc8-44ab-ad43-2e6ade3411ba" providerId="ADAL" clId="{C54958F0-C461-B24E-AE79-787D70F5A7E5}" dt="2021-12-02T15:26:08.668" v="4627" actId="1076"/>
          <ac:spMkLst>
            <pc:docMk/>
            <pc:sldMk cId="1562830815" sldId="299"/>
            <ac:spMk id="8" creationId="{528FC47F-274B-45CB-BA93-824B7C30124A}"/>
          </ac:spMkLst>
        </pc:spChg>
        <pc:spChg chg="add mod">
          <ac:chgData name="Cai, Siyan" userId="c05b90bb-2bc8-44ab-ad43-2e6ade3411ba" providerId="ADAL" clId="{C54958F0-C461-B24E-AE79-787D70F5A7E5}" dt="2021-12-02T04:48:39.885" v="3488" actId="20577"/>
          <ac:spMkLst>
            <pc:docMk/>
            <pc:sldMk cId="1562830815" sldId="299"/>
            <ac:spMk id="10" creationId="{DB04A9F2-C886-0E4E-9790-60F1C3070152}"/>
          </ac:spMkLst>
        </pc:spChg>
        <pc:spChg chg="add mod">
          <ac:chgData name="Cai, Siyan" userId="c05b90bb-2bc8-44ab-ad43-2e6ade3411ba" providerId="ADAL" clId="{C54958F0-C461-B24E-AE79-787D70F5A7E5}" dt="2021-12-02T05:30:02.281" v="4108" actId="20577"/>
          <ac:spMkLst>
            <pc:docMk/>
            <pc:sldMk cId="1562830815" sldId="299"/>
            <ac:spMk id="11" creationId="{D377D382-250C-014A-9577-9D8929F801BA}"/>
          </ac:spMkLst>
        </pc:spChg>
        <pc:spChg chg="add mod">
          <ac:chgData name="Cai, Siyan" userId="c05b90bb-2bc8-44ab-ad43-2e6ade3411ba" providerId="ADAL" clId="{C54958F0-C461-B24E-AE79-787D70F5A7E5}" dt="2021-12-02T15:26:08.668" v="4627" actId="1076"/>
          <ac:spMkLst>
            <pc:docMk/>
            <pc:sldMk cId="1562830815" sldId="299"/>
            <ac:spMk id="12" creationId="{4DACAAFE-B6C6-D647-B294-564980B38A47}"/>
          </ac:spMkLst>
        </pc:spChg>
        <pc:graphicFrameChg chg="mod modGraphic">
          <ac:chgData name="Cai, Siyan" userId="c05b90bb-2bc8-44ab-ad43-2e6ade3411ba" providerId="ADAL" clId="{C54958F0-C461-B24E-AE79-787D70F5A7E5}" dt="2021-12-02T15:26:08.668" v="4627" actId="1076"/>
          <ac:graphicFrameMkLst>
            <pc:docMk/>
            <pc:sldMk cId="1562830815" sldId="299"/>
            <ac:graphicFrameMk id="7" creationId="{E40763BD-338B-42BE-B1ED-0593C6FEF771}"/>
          </ac:graphicFrameMkLst>
        </pc:graphicFrameChg>
        <pc:picChg chg="add mod">
          <ac:chgData name="Cai, Siyan" userId="c05b90bb-2bc8-44ab-ad43-2e6ade3411ba" providerId="ADAL" clId="{C54958F0-C461-B24E-AE79-787D70F5A7E5}" dt="2021-12-02T15:26:10.607" v="4628" actId="1076"/>
          <ac:picMkLst>
            <pc:docMk/>
            <pc:sldMk cId="1562830815" sldId="299"/>
            <ac:picMk id="13" creationId="{60CABC49-58D7-1645-A20E-C0081B194400}"/>
          </ac:picMkLst>
        </pc:picChg>
      </pc:sldChg>
      <pc:sldChg chg="addSp delSp modSp mod">
        <pc:chgData name="Cai, Siyan" userId="c05b90bb-2bc8-44ab-ad43-2e6ade3411ba" providerId="ADAL" clId="{C54958F0-C461-B24E-AE79-787D70F5A7E5}" dt="2021-12-02T15:34:47.499" v="4953" actId="20577"/>
        <pc:sldMkLst>
          <pc:docMk/>
          <pc:sldMk cId="495501197" sldId="300"/>
        </pc:sldMkLst>
        <pc:spChg chg="del">
          <ac:chgData name="Cai, Siyan" userId="c05b90bb-2bc8-44ab-ad43-2e6ade3411ba" providerId="ADAL" clId="{C54958F0-C461-B24E-AE79-787D70F5A7E5}" dt="2021-12-02T04:48:43.540" v="3490" actId="478"/>
          <ac:spMkLst>
            <pc:docMk/>
            <pc:sldMk cId="495501197" sldId="300"/>
            <ac:spMk id="3" creationId="{7425C885-578E-4049-8FAA-E586CE31F1F8}"/>
          </ac:spMkLst>
        </pc:spChg>
        <pc:spChg chg="mod">
          <ac:chgData name="Cai, Siyan" userId="c05b90bb-2bc8-44ab-ad43-2e6ade3411ba" providerId="ADAL" clId="{C54958F0-C461-B24E-AE79-787D70F5A7E5}" dt="2021-12-02T15:32:01.632" v="4934" actId="120"/>
          <ac:spMkLst>
            <pc:docMk/>
            <pc:sldMk cId="495501197" sldId="300"/>
            <ac:spMk id="11" creationId="{1FAF163E-C964-445B-88DA-82E1600AD2A3}"/>
          </ac:spMkLst>
        </pc:spChg>
        <pc:spChg chg="add mod">
          <ac:chgData name="Cai, Siyan" userId="c05b90bb-2bc8-44ab-ad43-2e6ade3411ba" providerId="ADAL" clId="{C54958F0-C461-B24E-AE79-787D70F5A7E5}" dt="2021-12-02T04:48:47.133" v="3498" actId="20577"/>
          <ac:spMkLst>
            <pc:docMk/>
            <pc:sldMk cId="495501197" sldId="300"/>
            <ac:spMk id="12" creationId="{3C0568E8-5A44-FF45-8490-9C1C0F3D6B01}"/>
          </ac:spMkLst>
        </pc:spChg>
        <pc:spChg chg="add mod">
          <ac:chgData name="Cai, Siyan" userId="c05b90bb-2bc8-44ab-ad43-2e6ade3411ba" providerId="ADAL" clId="{C54958F0-C461-B24E-AE79-787D70F5A7E5}" dt="2021-12-02T15:13:06.642" v="4416"/>
          <ac:spMkLst>
            <pc:docMk/>
            <pc:sldMk cId="495501197" sldId="300"/>
            <ac:spMk id="13" creationId="{BF8F481E-E5C0-9B4D-9ACE-BA0D2E8653D4}"/>
          </ac:spMkLst>
        </pc:spChg>
        <pc:spChg chg="add mod">
          <ac:chgData name="Cai, Siyan" userId="c05b90bb-2bc8-44ab-ad43-2e6ade3411ba" providerId="ADAL" clId="{C54958F0-C461-B24E-AE79-787D70F5A7E5}" dt="2021-12-02T15:34:47.499" v="4953" actId="20577"/>
          <ac:spMkLst>
            <pc:docMk/>
            <pc:sldMk cId="495501197" sldId="300"/>
            <ac:spMk id="15" creationId="{8B078930-0554-9A44-AB41-DA397DE08A94}"/>
          </ac:spMkLst>
        </pc:spChg>
        <pc:spChg chg="add del mod">
          <ac:chgData name="Cai, Siyan" userId="c05b90bb-2bc8-44ab-ad43-2e6ade3411ba" providerId="ADAL" clId="{C54958F0-C461-B24E-AE79-787D70F5A7E5}" dt="2021-12-02T15:29:47.659" v="4874" actId="478"/>
          <ac:spMkLst>
            <pc:docMk/>
            <pc:sldMk cId="495501197" sldId="300"/>
            <ac:spMk id="17" creationId="{A37C0B1A-5F3A-DE48-AAFB-AC6D18422918}"/>
          </ac:spMkLst>
        </pc:spChg>
        <pc:picChg chg="mod">
          <ac:chgData name="Cai, Siyan" userId="c05b90bb-2bc8-44ab-ad43-2e6ade3411ba" providerId="ADAL" clId="{C54958F0-C461-B24E-AE79-787D70F5A7E5}" dt="2021-12-02T15:27:10.733" v="4641" actId="14100"/>
          <ac:picMkLst>
            <pc:docMk/>
            <pc:sldMk cId="495501197" sldId="300"/>
            <ac:picMk id="6" creationId="{F990379F-F63E-4930-B2A2-FEBD8910E3CC}"/>
          </ac:picMkLst>
        </pc:picChg>
        <pc:picChg chg="mod">
          <ac:chgData name="Cai, Siyan" userId="c05b90bb-2bc8-44ab-ad43-2e6ade3411ba" providerId="ADAL" clId="{C54958F0-C461-B24E-AE79-787D70F5A7E5}" dt="2021-12-02T15:27:08.190" v="4640" actId="14100"/>
          <ac:picMkLst>
            <pc:docMk/>
            <pc:sldMk cId="495501197" sldId="300"/>
            <ac:picMk id="8" creationId="{95ACB7EA-D184-4935-92B8-9560ED687E99}"/>
          </ac:picMkLst>
        </pc:picChg>
        <pc:picChg chg="mod">
          <ac:chgData name="Cai, Siyan" userId="c05b90bb-2bc8-44ab-ad43-2e6ade3411ba" providerId="ADAL" clId="{C54958F0-C461-B24E-AE79-787D70F5A7E5}" dt="2021-12-02T15:29:50.282" v="4876" actId="1076"/>
          <ac:picMkLst>
            <pc:docMk/>
            <pc:sldMk cId="495501197" sldId="300"/>
            <ac:picMk id="9" creationId="{D6AC4E48-9F0A-490B-860F-FB07304251BC}"/>
          </ac:picMkLst>
        </pc:picChg>
        <pc:picChg chg="del">
          <ac:chgData name="Cai, Siyan" userId="c05b90bb-2bc8-44ab-ad43-2e6ade3411ba" providerId="ADAL" clId="{C54958F0-C461-B24E-AE79-787D70F5A7E5}" dt="2021-12-02T15:13:18.287" v="4417" actId="478"/>
          <ac:picMkLst>
            <pc:docMk/>
            <pc:sldMk cId="495501197" sldId="300"/>
            <ac:picMk id="10" creationId="{9FB37409-494A-4802-B259-1B876F874ABD}"/>
          </ac:picMkLst>
        </pc:picChg>
        <pc:picChg chg="add mod">
          <ac:chgData name="Cai, Siyan" userId="c05b90bb-2bc8-44ab-ad43-2e6ade3411ba" providerId="ADAL" clId="{C54958F0-C461-B24E-AE79-787D70F5A7E5}" dt="2021-12-02T15:22:59.151" v="4535" actId="1076"/>
          <ac:picMkLst>
            <pc:docMk/>
            <pc:sldMk cId="495501197" sldId="300"/>
            <ac:picMk id="14" creationId="{3EF1C399-468B-B249-AC1F-6D31B80D67F7}"/>
          </ac:picMkLst>
        </pc:picChg>
        <pc:cxnChg chg="add mod">
          <ac:chgData name="Cai, Siyan" userId="c05b90bb-2bc8-44ab-ad43-2e6ade3411ba" providerId="ADAL" clId="{C54958F0-C461-B24E-AE79-787D70F5A7E5}" dt="2021-12-02T15:28:52.314" v="4801" actId="1076"/>
          <ac:cxnSpMkLst>
            <pc:docMk/>
            <pc:sldMk cId="495501197" sldId="300"/>
            <ac:cxnSpMk id="4" creationId="{98381F32-1F29-724E-B33F-35F1AA1EDE77}"/>
          </ac:cxnSpMkLst>
        </pc:cxnChg>
        <pc:cxnChg chg="add mod">
          <ac:chgData name="Cai, Siyan" userId="c05b90bb-2bc8-44ab-ad43-2e6ade3411ba" providerId="ADAL" clId="{C54958F0-C461-B24E-AE79-787D70F5A7E5}" dt="2021-12-02T15:31:37.078" v="4929" actId="1076"/>
          <ac:cxnSpMkLst>
            <pc:docMk/>
            <pc:sldMk cId="495501197" sldId="300"/>
            <ac:cxnSpMk id="18" creationId="{FB85CB82-C1D1-1F4A-AAE3-361A6C9D1FF3}"/>
          </ac:cxnSpMkLst>
        </pc:cxnChg>
      </pc:sldChg>
      <pc:sldChg chg="addSp delSp modSp del mod">
        <pc:chgData name="Cai, Siyan" userId="c05b90bb-2bc8-44ab-ad43-2e6ade3411ba" providerId="ADAL" clId="{C54958F0-C461-B24E-AE79-787D70F5A7E5}" dt="2021-12-02T15:13:42.166" v="4426" actId="2696"/>
        <pc:sldMkLst>
          <pc:docMk/>
          <pc:sldMk cId="1498436664" sldId="301"/>
        </pc:sldMkLst>
        <pc:spChg chg="del">
          <ac:chgData name="Cai, Siyan" userId="c05b90bb-2bc8-44ab-ad43-2e6ade3411ba" providerId="ADAL" clId="{C54958F0-C461-B24E-AE79-787D70F5A7E5}" dt="2021-12-02T04:48:51.439" v="3500" actId="478"/>
          <ac:spMkLst>
            <pc:docMk/>
            <pc:sldMk cId="1498436664" sldId="301"/>
            <ac:spMk id="3" creationId="{7B893263-84FD-4C14-8500-D77AF3B99FFB}"/>
          </ac:spMkLst>
        </pc:spChg>
        <pc:spChg chg="add del mod">
          <ac:chgData name="Cai, Siyan" userId="c05b90bb-2bc8-44ab-ad43-2e6ade3411ba" providerId="ADAL" clId="{C54958F0-C461-B24E-AE79-787D70F5A7E5}" dt="2021-12-02T15:13:32.672" v="4422" actId="478"/>
          <ac:spMkLst>
            <pc:docMk/>
            <pc:sldMk cId="1498436664" sldId="301"/>
            <ac:spMk id="4" creationId="{2B4CC014-7EE1-5241-9F0E-FFCF423114D4}"/>
          </ac:spMkLst>
        </pc:spChg>
        <pc:spChg chg="add mod">
          <ac:chgData name="Cai, Siyan" userId="c05b90bb-2bc8-44ab-ad43-2e6ade3411ba" providerId="ADAL" clId="{C54958F0-C461-B24E-AE79-787D70F5A7E5}" dt="2021-12-02T04:48:53.215" v="3502" actId="20577"/>
          <ac:spMkLst>
            <pc:docMk/>
            <pc:sldMk cId="1498436664" sldId="301"/>
            <ac:spMk id="8" creationId="{1F1DA7DA-3C10-C14E-87B3-53554382F279}"/>
          </ac:spMkLst>
        </pc:spChg>
        <pc:spChg chg="del">
          <ac:chgData name="Cai, Siyan" userId="c05b90bb-2bc8-44ab-ad43-2e6ade3411ba" providerId="ADAL" clId="{C54958F0-C461-B24E-AE79-787D70F5A7E5}" dt="2021-12-02T15:13:39.492" v="4424" actId="21"/>
          <ac:spMkLst>
            <pc:docMk/>
            <pc:sldMk cId="1498436664" sldId="301"/>
            <ac:spMk id="10" creationId="{CA34BC9D-F269-47C6-89C6-9692DA3F6A83}"/>
          </ac:spMkLst>
        </pc:spChg>
        <pc:picChg chg="del">
          <ac:chgData name="Cai, Siyan" userId="c05b90bb-2bc8-44ab-ad43-2e6ade3411ba" providerId="ADAL" clId="{C54958F0-C461-B24E-AE79-787D70F5A7E5}" dt="2021-12-02T15:13:35.980" v="4423" actId="478"/>
          <ac:picMkLst>
            <pc:docMk/>
            <pc:sldMk cId="1498436664" sldId="301"/>
            <ac:picMk id="7" creationId="{EE37CC1D-19E9-4C2F-914A-645BDF23EC22}"/>
          </ac:picMkLst>
        </pc:picChg>
        <pc:picChg chg="del">
          <ac:chgData name="Cai, Siyan" userId="c05b90bb-2bc8-44ab-ad43-2e6ade3411ba" providerId="ADAL" clId="{C54958F0-C461-B24E-AE79-787D70F5A7E5}" dt="2021-12-02T15:13:28.598" v="4420" actId="478"/>
          <ac:picMkLst>
            <pc:docMk/>
            <pc:sldMk cId="1498436664" sldId="301"/>
            <ac:picMk id="9" creationId="{FDA4B076-17B7-4F57-BC27-3B0FF8B93947}"/>
          </ac:picMkLst>
        </pc:picChg>
        <pc:picChg chg="del">
          <ac:chgData name="Cai, Siyan" userId="c05b90bb-2bc8-44ab-ad43-2e6ade3411ba" providerId="ADAL" clId="{C54958F0-C461-B24E-AE79-787D70F5A7E5}" dt="2021-12-02T15:13:29.867" v="4421" actId="478"/>
          <ac:picMkLst>
            <pc:docMk/>
            <pc:sldMk cId="1498436664" sldId="301"/>
            <ac:picMk id="14" creationId="{C48B155B-24AE-4735-8CC6-BB75F69B97F0}"/>
          </ac:picMkLst>
        </pc:picChg>
      </pc:sldChg>
      <pc:sldChg chg="addSp delSp modSp new mod">
        <pc:chgData name="Cai, Siyan" userId="c05b90bb-2bc8-44ab-ad43-2e6ade3411ba" providerId="ADAL" clId="{C54958F0-C461-B24E-AE79-787D70F5A7E5}" dt="2021-12-02T04:48:23.810" v="3476" actId="20577"/>
        <pc:sldMkLst>
          <pc:docMk/>
          <pc:sldMk cId="3967291721" sldId="303"/>
        </pc:sldMkLst>
        <pc:spChg chg="mod">
          <ac:chgData name="Cai, Siyan" userId="c05b90bb-2bc8-44ab-ad43-2e6ade3411ba" providerId="ADAL" clId="{C54958F0-C461-B24E-AE79-787D70F5A7E5}" dt="2021-12-02T00:03:43.380" v="1228" actId="20577"/>
          <ac:spMkLst>
            <pc:docMk/>
            <pc:sldMk cId="3967291721" sldId="303"/>
            <ac:spMk id="2" creationId="{4C67B005-822B-344F-98DC-FF67EF3D0894}"/>
          </ac:spMkLst>
        </pc:spChg>
        <pc:spChg chg="del mod">
          <ac:chgData name="Cai, Siyan" userId="c05b90bb-2bc8-44ab-ad43-2e6ade3411ba" providerId="ADAL" clId="{C54958F0-C461-B24E-AE79-787D70F5A7E5}" dt="2021-12-02T00:52:30.051" v="1539" actId="478"/>
          <ac:spMkLst>
            <pc:docMk/>
            <pc:sldMk cId="3967291721" sldId="303"/>
            <ac:spMk id="3" creationId="{C6C65986-EEB5-064E-8AAA-F844BD4A3AB5}"/>
          </ac:spMkLst>
        </pc:spChg>
        <pc:spChg chg="del mod">
          <ac:chgData name="Cai, Siyan" userId="c05b90bb-2bc8-44ab-ad43-2e6ade3411ba" providerId="ADAL" clId="{C54958F0-C461-B24E-AE79-787D70F5A7E5}" dt="2021-12-02T00:52:31.637" v="1540" actId="478"/>
          <ac:spMkLst>
            <pc:docMk/>
            <pc:sldMk cId="3967291721" sldId="303"/>
            <ac:spMk id="4" creationId="{8C24C6DA-CE17-6648-A14E-464244DC0060}"/>
          </ac:spMkLst>
        </pc:spChg>
        <pc:spChg chg="add mod">
          <ac:chgData name="Cai, Siyan" userId="c05b90bb-2bc8-44ab-ad43-2e6ade3411ba" providerId="ADAL" clId="{C54958F0-C461-B24E-AE79-787D70F5A7E5}" dt="2021-12-02T04:13:02.683" v="3104" actId="20577"/>
          <ac:spMkLst>
            <pc:docMk/>
            <pc:sldMk cId="3967291721" sldId="303"/>
            <ac:spMk id="6" creationId="{7D750A3F-4CF6-D442-BBE7-1543961817B7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7" creationId="{63858696-919B-FD48-8D0F-AAE0E3E0AE91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8" creationId="{EA5E40D4-4F38-7C4D-A39E-E683FC7A74CE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9" creationId="{D45139F3-D731-0E4A-A331-6A928BB44FC0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10" creationId="{5E90E444-51CC-6347-A8CB-7F957FD5E77E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11" creationId="{D27AA5B1-4C05-B74F-814E-EA4FF5FEF8A3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12" creationId="{9748F896-7EED-414B-896F-F7AC649516B3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13" creationId="{8DC65CCD-9758-504F-9FB2-E0E39CDCFFE4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14" creationId="{32C82BCE-357E-1D4D-8BD7-6DC955123B89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40" creationId="{A5353640-31F2-EC4C-A078-7788B2F0E32E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41" creationId="{CA9650C2-847B-B74D-B959-089539864DD4}"/>
          </ac:spMkLst>
        </pc:spChg>
        <pc:spChg chg="add mod">
          <ac:chgData name="Cai, Siyan" userId="c05b90bb-2bc8-44ab-ad43-2e6ade3411ba" providerId="ADAL" clId="{C54958F0-C461-B24E-AE79-787D70F5A7E5}" dt="2021-12-02T04:13:04.687" v="3105" actId="20577"/>
          <ac:spMkLst>
            <pc:docMk/>
            <pc:sldMk cId="3967291721" sldId="303"/>
            <ac:spMk id="42" creationId="{CD637D57-EF10-B346-9408-52E9E8F836B7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43" creationId="{1D0211CA-5122-D843-A0BD-18D81569423A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54" creationId="{DDC14484-7F4F-014A-82FE-29E7DCF7C691}"/>
          </ac:spMkLst>
        </pc:spChg>
        <pc:spChg chg="add mod">
          <ac:chgData name="Cai, Siyan" userId="c05b90bb-2bc8-44ab-ad43-2e6ade3411ba" providerId="ADAL" clId="{C54958F0-C461-B24E-AE79-787D70F5A7E5}" dt="2021-12-02T01:17:20.090" v="1779" actId="1076"/>
          <ac:spMkLst>
            <pc:docMk/>
            <pc:sldMk cId="3967291721" sldId="303"/>
            <ac:spMk id="68" creationId="{4536774E-C83C-9B43-8642-8A2FC9FE50C6}"/>
          </ac:spMkLst>
        </pc:spChg>
        <pc:spChg chg="add mod">
          <ac:chgData name="Cai, Siyan" userId="c05b90bb-2bc8-44ab-ad43-2e6ade3411ba" providerId="ADAL" clId="{C54958F0-C461-B24E-AE79-787D70F5A7E5}" dt="2021-12-02T04:48:23.810" v="3476" actId="20577"/>
          <ac:spMkLst>
            <pc:docMk/>
            <pc:sldMk cId="3967291721" sldId="303"/>
            <ac:spMk id="89" creationId="{6020395B-5229-F142-9A05-A4DB0A49CD1B}"/>
          </ac:spMkLst>
        </pc:spChg>
        <pc:picChg chg="add del mod">
          <ac:chgData name="Cai, Siyan" userId="c05b90bb-2bc8-44ab-ad43-2e6ade3411ba" providerId="ADAL" clId="{C54958F0-C461-B24E-AE79-787D70F5A7E5}" dt="2021-12-02T00:47:23.121" v="1387" actId="478"/>
          <ac:picMkLst>
            <pc:docMk/>
            <pc:sldMk cId="3967291721" sldId="303"/>
            <ac:picMk id="5" creationId="{38983970-7311-1547-A3D9-689D1B8B50EE}"/>
          </ac:picMkLst>
        </pc:picChg>
        <pc:cxnChg chg="add mod">
          <ac:chgData name="Cai, Siyan" userId="c05b90bb-2bc8-44ab-ad43-2e6ade3411ba" providerId="ADAL" clId="{C54958F0-C461-B24E-AE79-787D70F5A7E5}" dt="2021-12-02T01:17:20.090" v="1779" actId="1076"/>
          <ac:cxnSpMkLst>
            <pc:docMk/>
            <pc:sldMk cId="3967291721" sldId="303"/>
            <ac:cxnSpMk id="16" creationId="{22D4BD04-DD46-7A4B-8D38-41D365BC2032}"/>
          </ac:cxnSpMkLst>
        </pc:cxnChg>
        <pc:cxnChg chg="add mod">
          <ac:chgData name="Cai, Siyan" userId="c05b90bb-2bc8-44ab-ad43-2e6ade3411ba" providerId="ADAL" clId="{C54958F0-C461-B24E-AE79-787D70F5A7E5}" dt="2021-12-02T01:17:20.090" v="1779" actId="1076"/>
          <ac:cxnSpMkLst>
            <pc:docMk/>
            <pc:sldMk cId="3967291721" sldId="303"/>
            <ac:cxnSpMk id="21" creationId="{E95FBD65-0D81-DB4C-9A33-5912063645D1}"/>
          </ac:cxnSpMkLst>
        </pc:cxnChg>
        <pc:cxnChg chg="add mod">
          <ac:chgData name="Cai, Siyan" userId="c05b90bb-2bc8-44ab-ad43-2e6ade3411ba" providerId="ADAL" clId="{C54958F0-C461-B24E-AE79-787D70F5A7E5}" dt="2021-12-02T01:17:20.090" v="1779" actId="1076"/>
          <ac:cxnSpMkLst>
            <pc:docMk/>
            <pc:sldMk cId="3967291721" sldId="303"/>
            <ac:cxnSpMk id="23" creationId="{6CFB2A9A-9C06-6C48-9DCD-20B995FFEBBB}"/>
          </ac:cxnSpMkLst>
        </pc:cxnChg>
        <pc:cxnChg chg="add mod">
          <ac:chgData name="Cai, Siyan" userId="c05b90bb-2bc8-44ab-ad43-2e6ade3411ba" providerId="ADAL" clId="{C54958F0-C461-B24E-AE79-787D70F5A7E5}" dt="2021-12-02T01:17:20.090" v="1779" actId="1076"/>
          <ac:cxnSpMkLst>
            <pc:docMk/>
            <pc:sldMk cId="3967291721" sldId="303"/>
            <ac:cxnSpMk id="24" creationId="{6DCCBBBA-AF8E-D445-A998-3797952C6D60}"/>
          </ac:cxnSpMkLst>
        </pc:cxnChg>
        <pc:cxnChg chg="add mod">
          <ac:chgData name="Cai, Siyan" userId="c05b90bb-2bc8-44ab-ad43-2e6ade3411ba" providerId="ADAL" clId="{C54958F0-C461-B24E-AE79-787D70F5A7E5}" dt="2021-12-02T01:17:20.090" v="1779" actId="1076"/>
          <ac:cxnSpMkLst>
            <pc:docMk/>
            <pc:sldMk cId="3967291721" sldId="303"/>
            <ac:cxnSpMk id="27" creationId="{CCCCA397-EFB0-BC41-87B6-55AAFB1B28E3}"/>
          </ac:cxnSpMkLst>
        </pc:cxnChg>
        <pc:cxnChg chg="add mod">
          <ac:chgData name="Cai, Siyan" userId="c05b90bb-2bc8-44ab-ad43-2e6ade3411ba" providerId="ADAL" clId="{C54958F0-C461-B24E-AE79-787D70F5A7E5}" dt="2021-12-02T01:17:20.090" v="1779" actId="1076"/>
          <ac:cxnSpMkLst>
            <pc:docMk/>
            <pc:sldMk cId="3967291721" sldId="303"/>
            <ac:cxnSpMk id="30" creationId="{B79F47FA-4933-FF4A-B557-196476C2D0C4}"/>
          </ac:cxnSpMkLst>
        </pc:cxnChg>
        <pc:cxnChg chg="add mod">
          <ac:chgData name="Cai, Siyan" userId="c05b90bb-2bc8-44ab-ad43-2e6ade3411ba" providerId="ADAL" clId="{C54958F0-C461-B24E-AE79-787D70F5A7E5}" dt="2021-12-02T01:17:20.090" v="1779" actId="1076"/>
          <ac:cxnSpMkLst>
            <pc:docMk/>
            <pc:sldMk cId="3967291721" sldId="303"/>
            <ac:cxnSpMk id="33" creationId="{5434AFC2-396E-2F49-A53B-56DD212F586F}"/>
          </ac:cxnSpMkLst>
        </pc:cxnChg>
        <pc:cxnChg chg="add mod">
          <ac:chgData name="Cai, Siyan" userId="c05b90bb-2bc8-44ab-ad43-2e6ade3411ba" providerId="ADAL" clId="{C54958F0-C461-B24E-AE79-787D70F5A7E5}" dt="2021-12-02T01:17:20.090" v="1779" actId="1076"/>
          <ac:cxnSpMkLst>
            <pc:docMk/>
            <pc:sldMk cId="3967291721" sldId="303"/>
            <ac:cxnSpMk id="36" creationId="{575264BA-C451-CC45-80D6-7978C4A04947}"/>
          </ac:cxnSpMkLst>
        </pc:cxnChg>
      </pc:sldChg>
      <pc:sldChg chg="addSp delSp modSp mod">
        <pc:chgData name="Cai, Siyan" userId="c05b90bb-2bc8-44ab-ad43-2e6ade3411ba" providerId="ADAL" clId="{C54958F0-C461-B24E-AE79-787D70F5A7E5}" dt="2021-12-02T16:03:57.517" v="5923" actId="1076"/>
        <pc:sldMkLst>
          <pc:docMk/>
          <pc:sldMk cId="1096136804" sldId="304"/>
        </pc:sldMkLst>
        <pc:spChg chg="del">
          <ac:chgData name="Cai, Siyan" userId="c05b90bb-2bc8-44ab-ad43-2e6ade3411ba" providerId="ADAL" clId="{C54958F0-C461-B24E-AE79-787D70F5A7E5}" dt="2021-12-02T16:02:42.176" v="5908" actId="478"/>
          <ac:spMkLst>
            <pc:docMk/>
            <pc:sldMk cId="1096136804" sldId="304"/>
            <ac:spMk id="2" creationId="{45D66E5C-B086-4DAB-95EA-DEAA8886ADFF}"/>
          </ac:spMkLst>
        </pc:spChg>
        <pc:spChg chg="del">
          <ac:chgData name="Cai, Siyan" userId="c05b90bb-2bc8-44ab-ad43-2e6ade3411ba" providerId="ADAL" clId="{C54958F0-C461-B24E-AE79-787D70F5A7E5}" dt="2021-12-02T04:48:57.025" v="3504" actId="478"/>
          <ac:spMkLst>
            <pc:docMk/>
            <pc:sldMk cId="1096136804" sldId="304"/>
            <ac:spMk id="3" creationId="{9989B145-AEB7-4D4F-AC4B-2FA460904F31}"/>
          </ac:spMkLst>
        </pc:spChg>
        <pc:spChg chg="del mod">
          <ac:chgData name="Cai, Siyan" userId="c05b90bb-2bc8-44ab-ad43-2e6ade3411ba" providerId="ADAL" clId="{C54958F0-C461-B24E-AE79-787D70F5A7E5}" dt="2021-12-02T16:02:35.991" v="5905" actId="478"/>
          <ac:spMkLst>
            <pc:docMk/>
            <pc:sldMk cId="1096136804" sldId="304"/>
            <ac:spMk id="5" creationId="{5CB01B41-B62D-485B-9015-C05BCFE1DCFD}"/>
          </ac:spMkLst>
        </pc:spChg>
        <pc:spChg chg="add mod">
          <ac:chgData name="Cai, Siyan" userId="c05b90bb-2bc8-44ab-ad43-2e6ade3411ba" providerId="ADAL" clId="{C54958F0-C461-B24E-AE79-787D70F5A7E5}" dt="2021-12-02T04:48:58.671" v="3506" actId="20577"/>
          <ac:spMkLst>
            <pc:docMk/>
            <pc:sldMk cId="1096136804" sldId="304"/>
            <ac:spMk id="6" creationId="{5AC55E53-C825-0749-A3DE-0BE1AE97E786}"/>
          </ac:spMkLst>
        </pc:spChg>
        <pc:spChg chg="add del mod">
          <ac:chgData name="Cai, Siyan" userId="c05b90bb-2bc8-44ab-ad43-2e6ade3411ba" providerId="ADAL" clId="{C54958F0-C461-B24E-AE79-787D70F5A7E5}" dt="2021-12-02T16:02:37.890" v="5907" actId="478"/>
          <ac:spMkLst>
            <pc:docMk/>
            <pc:sldMk cId="1096136804" sldId="304"/>
            <ac:spMk id="7" creationId="{216EADA6-124D-D540-8D47-9CF74580EC39}"/>
          </ac:spMkLst>
        </pc:spChg>
        <pc:spChg chg="mod">
          <ac:chgData name="Cai, Siyan" userId="c05b90bb-2bc8-44ab-ad43-2e6ade3411ba" providerId="ADAL" clId="{C54958F0-C461-B24E-AE79-787D70F5A7E5}" dt="2021-12-02T16:03:19.487" v="5915" actId="1076"/>
          <ac:spMkLst>
            <pc:docMk/>
            <pc:sldMk cId="1096136804" sldId="304"/>
            <ac:spMk id="9" creationId="{0991A9A8-3D14-3B45-8B98-232F2F2404AA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16" creationId="{A039CB29-D923-1A47-9B83-C6973990550F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17" creationId="{B8ABE921-90C3-8E4C-95F8-08D5F4972615}"/>
          </ac:spMkLst>
        </pc:spChg>
        <pc:spChg chg="mod">
          <ac:chgData name="Cai, Siyan" userId="c05b90bb-2bc8-44ab-ad43-2e6ade3411ba" providerId="ADAL" clId="{C54958F0-C461-B24E-AE79-787D70F5A7E5}" dt="2021-12-02T16:03:30.112" v="5917" actId="1076"/>
          <ac:spMkLst>
            <pc:docMk/>
            <pc:sldMk cId="1096136804" sldId="304"/>
            <ac:spMk id="18" creationId="{94DA8200-4770-E648-ADDC-4751EE657310}"/>
          </ac:spMkLst>
        </pc:spChg>
        <pc:spChg chg="mod">
          <ac:chgData name="Cai, Siyan" userId="c05b90bb-2bc8-44ab-ad43-2e6ade3411ba" providerId="ADAL" clId="{C54958F0-C461-B24E-AE79-787D70F5A7E5}" dt="2021-12-02T16:03:32.555" v="5918" actId="1076"/>
          <ac:spMkLst>
            <pc:docMk/>
            <pc:sldMk cId="1096136804" sldId="304"/>
            <ac:spMk id="19" creationId="{131501EA-E338-E74A-92AE-AABD1D757781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21" creationId="{6B8F2AB7-F289-4049-A6E4-4CFCAC4D2B3C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22" creationId="{77C23C5B-202F-4044-B1F6-788C2633D285}"/>
          </ac:spMkLst>
        </pc:spChg>
        <pc:spChg chg="mod">
          <ac:chgData name="Cai, Siyan" userId="c05b90bb-2bc8-44ab-ad43-2e6ade3411ba" providerId="ADAL" clId="{C54958F0-C461-B24E-AE79-787D70F5A7E5}" dt="2021-12-02T16:03:57.517" v="5923" actId="1076"/>
          <ac:spMkLst>
            <pc:docMk/>
            <pc:sldMk cId="1096136804" sldId="304"/>
            <ac:spMk id="23" creationId="{A27B7238-BAE1-104A-8836-E6DECDAA13A7}"/>
          </ac:spMkLst>
        </pc:spChg>
        <pc:spChg chg="mod">
          <ac:chgData name="Cai, Siyan" userId="c05b90bb-2bc8-44ab-ad43-2e6ade3411ba" providerId="ADAL" clId="{C54958F0-C461-B24E-AE79-787D70F5A7E5}" dt="2021-12-02T16:03:26.805" v="5916" actId="1076"/>
          <ac:spMkLst>
            <pc:docMk/>
            <pc:sldMk cId="1096136804" sldId="304"/>
            <ac:spMk id="24" creationId="{98AF1FF7-0246-1345-A6A7-8B8A84C74B4F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26" creationId="{A8C81B88-203F-0748-B54E-B6E515A14431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27" creationId="{7CECC415-603F-C34C-B2E8-DB6E223EDB69}"/>
          </ac:spMkLst>
        </pc:spChg>
        <pc:spChg chg="mod">
          <ac:chgData name="Cai, Siyan" userId="c05b90bb-2bc8-44ab-ad43-2e6ade3411ba" providerId="ADAL" clId="{C54958F0-C461-B24E-AE79-787D70F5A7E5}" dt="2021-12-02T16:03:50.799" v="5922" actId="1076"/>
          <ac:spMkLst>
            <pc:docMk/>
            <pc:sldMk cId="1096136804" sldId="304"/>
            <ac:spMk id="28" creationId="{490A0AF6-5D22-CF43-8954-5C9E09A0A738}"/>
          </ac:spMkLst>
        </pc:spChg>
        <pc:spChg chg="mod">
          <ac:chgData name="Cai, Siyan" userId="c05b90bb-2bc8-44ab-ad43-2e6ade3411ba" providerId="ADAL" clId="{C54958F0-C461-B24E-AE79-787D70F5A7E5}" dt="2021-12-02T16:03:46.227" v="5921" actId="1076"/>
          <ac:spMkLst>
            <pc:docMk/>
            <pc:sldMk cId="1096136804" sldId="304"/>
            <ac:spMk id="29" creationId="{11A1DD5A-9CF2-6B43-AF8E-D056863F99E2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30" creationId="{B10314A4-FF33-7445-8AC7-58C07BEEBF49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31" creationId="{5265F71C-1CD1-5A4F-900D-DC53472FA01D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32" creationId="{44304A51-5C11-BC41-9987-86B648295E55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33" creationId="{85ABF60B-7DD5-7D4B-94C6-5830416A10E3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34" creationId="{11995F4D-190F-884E-B5E6-71B502F97DC1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35" creationId="{1CF3BCFD-5E3D-6E42-8B5E-8B4FD0609689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36" creationId="{C80B8748-9582-6841-AE20-78157144AADC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37" creationId="{F68FBF8D-56A6-2944-83D4-830E7269ABCA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38" creationId="{46AD2D82-8F8D-B14B-9C62-F076D85D01E7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39" creationId="{0BE09FCE-90ED-BB4A-974E-EE1DED009A5D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40" creationId="{1F2BA2D5-519A-3847-A90D-B9DC80D57028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41" creationId="{91087724-549B-C54C-B59A-6EA5158636BF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42" creationId="{9FC59F4A-9C7B-9343-B129-FF3E2B9E0614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43" creationId="{AEB83595-627E-3A4E-80BA-C758E70A9B1E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44" creationId="{A7505652-584F-B349-B4AB-C399CE4E25C3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45" creationId="{0B2CE768-67F6-704A-B2FD-A69AEF2CE90A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46" creationId="{4846C638-59F6-6447-A5F0-1CA7F3B754EF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47" creationId="{EAB2E63A-36E9-3B43-8C9C-274116F95C8B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48" creationId="{A9401057-7329-CF46-B2E9-E50A43C38832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49" creationId="{C57DD11C-7A45-2941-BAB4-4D99CB81E608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50" creationId="{D31876AA-1DB9-054A-A284-E04ABFCED3C8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51" creationId="{AE5AFE18-A020-FE45-88D6-6E8AC7E2EDAD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52" creationId="{8619EBC5-ABD4-EC46-B041-56869EFA64AD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53" creationId="{7D7F9DC6-B0B5-0245-9996-234C19E1E26F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54" creationId="{CBDB0638-1370-EF4F-B34C-C7092CBEE69B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55" creationId="{EFF235CD-A1D0-6E45-A594-7A7E6BFBE20F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56" creationId="{A2CD93EB-DE12-2B40-A17A-C3C7CCE840CB}"/>
          </ac:spMkLst>
        </pc:spChg>
        <pc:spChg chg="mod">
          <ac:chgData name="Cai, Siyan" userId="c05b90bb-2bc8-44ab-ad43-2e6ade3411ba" providerId="ADAL" clId="{C54958F0-C461-B24E-AE79-787D70F5A7E5}" dt="2021-12-02T16:02:36.368" v="5906"/>
          <ac:spMkLst>
            <pc:docMk/>
            <pc:sldMk cId="1096136804" sldId="304"/>
            <ac:spMk id="57" creationId="{D01A11DD-A44B-8D4A-81E2-36F1EBFF32F1}"/>
          </ac:spMkLst>
        </pc:spChg>
        <pc:grpChg chg="add mod">
          <ac:chgData name="Cai, Siyan" userId="c05b90bb-2bc8-44ab-ad43-2e6ade3411ba" providerId="ADAL" clId="{C54958F0-C461-B24E-AE79-787D70F5A7E5}" dt="2021-12-02T16:03:13.523" v="5914" actId="1076"/>
          <ac:grpSpMkLst>
            <pc:docMk/>
            <pc:sldMk cId="1096136804" sldId="304"/>
            <ac:grpSpMk id="8" creationId="{17319D5B-A63C-C847-B1A8-7C7247EC0C6C}"/>
          </ac:grpSpMkLst>
        </pc:grpChg>
        <pc:grpChg chg="mod">
          <ac:chgData name="Cai, Siyan" userId="c05b90bb-2bc8-44ab-ad43-2e6ade3411ba" providerId="ADAL" clId="{C54958F0-C461-B24E-AE79-787D70F5A7E5}" dt="2021-12-02T16:02:36.368" v="5906"/>
          <ac:grpSpMkLst>
            <pc:docMk/>
            <pc:sldMk cId="1096136804" sldId="304"/>
            <ac:grpSpMk id="10" creationId="{EA0D29A7-BF71-9A49-AA99-EB402FDBEB94}"/>
          </ac:grpSpMkLst>
        </pc:grpChg>
        <pc:grpChg chg="mod">
          <ac:chgData name="Cai, Siyan" userId="c05b90bb-2bc8-44ab-ad43-2e6ade3411ba" providerId="ADAL" clId="{C54958F0-C461-B24E-AE79-787D70F5A7E5}" dt="2021-12-02T16:02:36.368" v="5906"/>
          <ac:grpSpMkLst>
            <pc:docMk/>
            <pc:sldMk cId="1096136804" sldId="304"/>
            <ac:grpSpMk id="11" creationId="{7D45A0A8-D2CE-BA43-912C-A5AFA2AFEE3C}"/>
          </ac:grpSpMkLst>
        </pc:grpChg>
        <pc:grpChg chg="mod">
          <ac:chgData name="Cai, Siyan" userId="c05b90bb-2bc8-44ab-ad43-2e6ade3411ba" providerId="ADAL" clId="{C54958F0-C461-B24E-AE79-787D70F5A7E5}" dt="2021-12-02T16:02:36.368" v="5906"/>
          <ac:grpSpMkLst>
            <pc:docMk/>
            <pc:sldMk cId="1096136804" sldId="304"/>
            <ac:grpSpMk id="12" creationId="{B27D7AD4-D435-F146-B2DA-4AF2508C12D0}"/>
          </ac:grpSpMkLst>
        </pc:grpChg>
        <pc:grpChg chg="mod">
          <ac:chgData name="Cai, Siyan" userId="c05b90bb-2bc8-44ab-ad43-2e6ade3411ba" providerId="ADAL" clId="{C54958F0-C461-B24E-AE79-787D70F5A7E5}" dt="2021-12-02T16:02:36.368" v="5906"/>
          <ac:grpSpMkLst>
            <pc:docMk/>
            <pc:sldMk cId="1096136804" sldId="304"/>
            <ac:grpSpMk id="13" creationId="{9AE83BD0-30E2-C145-A0F0-D1C0A2484416}"/>
          </ac:grpSpMkLst>
        </pc:grpChg>
        <pc:grpChg chg="mod">
          <ac:chgData name="Cai, Siyan" userId="c05b90bb-2bc8-44ab-ad43-2e6ade3411ba" providerId="ADAL" clId="{C54958F0-C461-B24E-AE79-787D70F5A7E5}" dt="2021-12-02T16:02:36.368" v="5906"/>
          <ac:grpSpMkLst>
            <pc:docMk/>
            <pc:sldMk cId="1096136804" sldId="304"/>
            <ac:grpSpMk id="14" creationId="{0AC05CE3-F9F0-A944-9190-75117CF01AFF}"/>
          </ac:grpSpMkLst>
        </pc:grpChg>
        <pc:grpChg chg="mod">
          <ac:chgData name="Cai, Siyan" userId="c05b90bb-2bc8-44ab-ad43-2e6ade3411ba" providerId="ADAL" clId="{C54958F0-C461-B24E-AE79-787D70F5A7E5}" dt="2021-12-02T16:02:36.368" v="5906"/>
          <ac:grpSpMkLst>
            <pc:docMk/>
            <pc:sldMk cId="1096136804" sldId="304"/>
            <ac:grpSpMk id="15" creationId="{477FF2BD-EEF7-BE4F-849D-AE458D4BD059}"/>
          </ac:grpSpMkLst>
        </pc:grpChg>
        <pc:grpChg chg="mod">
          <ac:chgData name="Cai, Siyan" userId="c05b90bb-2bc8-44ab-ad43-2e6ade3411ba" providerId="ADAL" clId="{C54958F0-C461-B24E-AE79-787D70F5A7E5}" dt="2021-12-02T16:02:36.368" v="5906"/>
          <ac:grpSpMkLst>
            <pc:docMk/>
            <pc:sldMk cId="1096136804" sldId="304"/>
            <ac:grpSpMk id="20" creationId="{E0E6E969-5AA2-9B48-957A-BF997FF7F770}"/>
          </ac:grpSpMkLst>
        </pc:grpChg>
        <pc:grpChg chg="mod">
          <ac:chgData name="Cai, Siyan" userId="c05b90bb-2bc8-44ab-ad43-2e6ade3411ba" providerId="ADAL" clId="{C54958F0-C461-B24E-AE79-787D70F5A7E5}" dt="2021-12-02T16:02:36.368" v="5906"/>
          <ac:grpSpMkLst>
            <pc:docMk/>
            <pc:sldMk cId="1096136804" sldId="304"/>
            <ac:grpSpMk id="25" creationId="{B749C4D2-9674-D840-97BF-3E14306F1CB2}"/>
          </ac:grpSpMkLst>
        </pc:grpChg>
      </pc:sldChg>
      <pc:sldChg chg="new del">
        <pc:chgData name="Cai, Siyan" userId="c05b90bb-2bc8-44ab-ad43-2e6ade3411ba" providerId="ADAL" clId="{C54958F0-C461-B24E-AE79-787D70F5A7E5}" dt="2021-12-02T02:34:11.231" v="2647" actId="2696"/>
        <pc:sldMkLst>
          <pc:docMk/>
          <pc:sldMk cId="2168995651" sldId="304"/>
        </pc:sldMkLst>
      </pc:sldChg>
      <pc:sldChg chg="addSp delSp modSp add del mod">
        <pc:chgData name="Cai, Siyan" userId="c05b90bb-2bc8-44ab-ad43-2e6ade3411ba" providerId="ADAL" clId="{C54958F0-C461-B24E-AE79-787D70F5A7E5}" dt="2021-12-02T02:15:24.658" v="2384" actId="2696"/>
        <pc:sldMkLst>
          <pc:docMk/>
          <pc:sldMk cId="2802772776" sldId="304"/>
        </pc:sldMkLst>
        <pc:spChg chg="del">
          <ac:chgData name="Cai, Siyan" userId="c05b90bb-2bc8-44ab-ad43-2e6ade3411ba" providerId="ADAL" clId="{C54958F0-C461-B24E-AE79-787D70F5A7E5}" dt="2021-12-02T01:48:03.932" v="1822"/>
          <ac:spMkLst>
            <pc:docMk/>
            <pc:sldMk cId="2802772776" sldId="304"/>
            <ac:spMk id="2" creationId="{8D7A703A-2AFD-0E40-8247-629164655C78}"/>
          </ac:spMkLst>
        </pc:spChg>
        <pc:spChg chg="mod">
          <ac:chgData name="Cai, Siyan" userId="c05b90bb-2bc8-44ab-ad43-2e6ade3411ba" providerId="ADAL" clId="{C54958F0-C461-B24E-AE79-787D70F5A7E5}" dt="2021-12-02T01:48:03.932" v="1822"/>
          <ac:spMkLst>
            <pc:docMk/>
            <pc:sldMk cId="2802772776" sldId="304"/>
            <ac:spMk id="3" creationId="{AE735220-4243-4A4C-87AF-77D20199805E}"/>
          </ac:spMkLst>
        </pc:spChg>
        <pc:spChg chg="mod">
          <ac:chgData name="Cai, Siyan" userId="c05b90bb-2bc8-44ab-ad43-2e6ade3411ba" providerId="ADAL" clId="{C54958F0-C461-B24E-AE79-787D70F5A7E5}" dt="2021-12-02T01:48:03.932" v="1822"/>
          <ac:spMkLst>
            <pc:docMk/>
            <pc:sldMk cId="2802772776" sldId="304"/>
            <ac:spMk id="4" creationId="{CF2975A5-786D-C64A-A974-A797FB76D16A}"/>
          </ac:spMkLst>
        </pc:spChg>
        <pc:spChg chg="add mod">
          <ac:chgData name="Cai, Siyan" userId="c05b90bb-2bc8-44ab-ad43-2e6ade3411ba" providerId="ADAL" clId="{C54958F0-C461-B24E-AE79-787D70F5A7E5}" dt="2021-12-02T01:48:03.932" v="1822"/>
          <ac:spMkLst>
            <pc:docMk/>
            <pc:sldMk cId="2802772776" sldId="304"/>
            <ac:spMk id="5" creationId="{D6D51F36-3E21-E344-BA31-553039AB21FC}"/>
          </ac:spMkLst>
        </pc:spChg>
        <pc:spChg chg="mod">
          <ac:chgData name="Cai, Siyan" userId="c05b90bb-2bc8-44ab-ad43-2e6ade3411ba" providerId="ADAL" clId="{C54958F0-C461-B24E-AE79-787D70F5A7E5}" dt="2021-12-02T01:48:43.992" v="1865" actId="14100"/>
          <ac:spMkLst>
            <pc:docMk/>
            <pc:sldMk cId="2802772776" sldId="304"/>
            <ac:spMk id="8" creationId="{9BE9FB9A-F0B6-4641-B811-2ABB0F299F22}"/>
          </ac:spMkLst>
        </pc:spChg>
        <pc:spChg chg="mod">
          <ac:chgData name="Cai, Siyan" userId="c05b90bb-2bc8-44ab-ad43-2e6ade3411ba" providerId="ADAL" clId="{C54958F0-C461-B24E-AE79-787D70F5A7E5}" dt="2021-12-02T01:52:39.849" v="1952" actId="14100"/>
          <ac:spMkLst>
            <pc:docMk/>
            <pc:sldMk cId="2802772776" sldId="304"/>
            <ac:spMk id="9" creationId="{1979CD70-6B77-0B45-B8D1-5C4104817E55}"/>
          </ac:spMkLst>
        </pc:spChg>
        <pc:spChg chg="mod">
          <ac:chgData name="Cai, Siyan" userId="c05b90bb-2bc8-44ab-ad43-2e6ade3411ba" providerId="ADAL" clId="{C54958F0-C461-B24E-AE79-787D70F5A7E5}" dt="2021-12-02T01:52:43.052" v="1953" actId="14100"/>
          <ac:spMkLst>
            <pc:docMk/>
            <pc:sldMk cId="2802772776" sldId="304"/>
            <ac:spMk id="10" creationId="{4BC834A8-ECF0-7C47-BFA3-5D9F1CC7609A}"/>
          </ac:spMkLst>
        </pc:spChg>
        <pc:spChg chg="mod">
          <ac:chgData name="Cai, Siyan" userId="c05b90bb-2bc8-44ab-ad43-2e6ade3411ba" providerId="ADAL" clId="{C54958F0-C461-B24E-AE79-787D70F5A7E5}" dt="2021-12-02T01:48:04.130" v="1829"/>
          <ac:spMkLst>
            <pc:docMk/>
            <pc:sldMk cId="2802772776" sldId="304"/>
            <ac:spMk id="11" creationId="{17BA7F1F-D424-6546-ADE3-090E40A03D81}"/>
          </ac:spMkLst>
        </pc:spChg>
        <pc:spChg chg="mod">
          <ac:chgData name="Cai, Siyan" userId="c05b90bb-2bc8-44ab-ad43-2e6ade3411ba" providerId="ADAL" clId="{C54958F0-C461-B24E-AE79-787D70F5A7E5}" dt="2021-12-02T01:48:04.130" v="1829"/>
          <ac:spMkLst>
            <pc:docMk/>
            <pc:sldMk cId="2802772776" sldId="304"/>
            <ac:spMk id="13" creationId="{91E02A28-6714-4D45-9CF1-35EF0D6B260F}"/>
          </ac:spMkLst>
        </pc:spChg>
        <pc:spChg chg="mod">
          <ac:chgData name="Cai, Siyan" userId="c05b90bb-2bc8-44ab-ad43-2e6ade3411ba" providerId="ADAL" clId="{C54958F0-C461-B24E-AE79-787D70F5A7E5}" dt="2021-12-02T01:48:04.130" v="1829"/>
          <ac:spMkLst>
            <pc:docMk/>
            <pc:sldMk cId="2802772776" sldId="304"/>
            <ac:spMk id="15" creationId="{D9C5EF76-1C53-E94C-8D47-ECBCA3A8E2B8}"/>
          </ac:spMkLst>
        </pc:spChg>
        <pc:spChg chg="del mod">
          <ac:chgData name="Cai, Siyan" userId="c05b90bb-2bc8-44ab-ad43-2e6ade3411ba" providerId="ADAL" clId="{C54958F0-C461-B24E-AE79-787D70F5A7E5}" dt="2021-12-02T01:48:10.325" v="1831" actId="478"/>
          <ac:spMkLst>
            <pc:docMk/>
            <pc:sldMk cId="2802772776" sldId="304"/>
            <ac:spMk id="17" creationId="{2AE1C0A6-2464-0F4F-8D6F-46E08EDB84B3}"/>
          </ac:spMkLst>
        </pc:spChg>
        <pc:spChg chg="del mod">
          <ac:chgData name="Cai, Siyan" userId="c05b90bb-2bc8-44ab-ad43-2e6ade3411ba" providerId="ADAL" clId="{C54958F0-C461-B24E-AE79-787D70F5A7E5}" dt="2021-12-02T01:48:08.551" v="1830" actId="478"/>
          <ac:spMkLst>
            <pc:docMk/>
            <pc:sldMk cId="2802772776" sldId="304"/>
            <ac:spMk id="18" creationId="{6ACBF182-08C7-464B-9DE7-3E95DA5ED4AE}"/>
          </ac:spMkLst>
        </pc:spChg>
        <pc:spChg chg="mod">
          <ac:chgData name="Cai, Siyan" userId="c05b90bb-2bc8-44ab-ad43-2e6ade3411ba" providerId="ADAL" clId="{C54958F0-C461-B24E-AE79-787D70F5A7E5}" dt="2021-12-02T01:53:21.848" v="1995" actId="2711"/>
          <ac:spMkLst>
            <pc:docMk/>
            <pc:sldMk cId="2802772776" sldId="304"/>
            <ac:spMk id="19" creationId="{1F81092B-750B-654F-9D3C-CC1C4296284F}"/>
          </ac:spMkLst>
        </pc:spChg>
        <pc:spChg chg="mod">
          <ac:chgData name="Cai, Siyan" userId="c05b90bb-2bc8-44ab-ad43-2e6ade3411ba" providerId="ADAL" clId="{C54958F0-C461-B24E-AE79-787D70F5A7E5}" dt="2021-12-02T02:06:27.762" v="2315" actId="1076"/>
          <ac:spMkLst>
            <pc:docMk/>
            <pc:sldMk cId="2802772776" sldId="304"/>
            <ac:spMk id="20" creationId="{A70C9404-B4FB-7944-A47C-98376A33BCF6}"/>
          </ac:spMkLst>
        </pc:spChg>
        <pc:spChg chg="mod">
          <ac:chgData name="Cai, Siyan" userId="c05b90bb-2bc8-44ab-ad43-2e6ade3411ba" providerId="ADAL" clId="{C54958F0-C461-B24E-AE79-787D70F5A7E5}" dt="2021-12-02T01:53:26.491" v="1996" actId="2711"/>
          <ac:spMkLst>
            <pc:docMk/>
            <pc:sldMk cId="2802772776" sldId="304"/>
            <ac:spMk id="21" creationId="{7591209F-1725-6043-A9B7-92A7CF26F1FB}"/>
          </ac:spMkLst>
        </pc:spChg>
        <pc:spChg chg="mod">
          <ac:chgData name="Cai, Siyan" userId="c05b90bb-2bc8-44ab-ad43-2e6ade3411ba" providerId="ADAL" clId="{C54958F0-C461-B24E-AE79-787D70F5A7E5}" dt="2021-12-02T02:06:33.094" v="2316" actId="1076"/>
          <ac:spMkLst>
            <pc:docMk/>
            <pc:sldMk cId="2802772776" sldId="304"/>
            <ac:spMk id="22" creationId="{59C9AA47-7254-6F4D-9879-F7BB4B6AC7A5}"/>
          </ac:spMkLst>
        </pc:spChg>
        <pc:spChg chg="mod">
          <ac:chgData name="Cai, Siyan" userId="c05b90bb-2bc8-44ab-ad43-2e6ade3411ba" providerId="ADAL" clId="{C54958F0-C461-B24E-AE79-787D70F5A7E5}" dt="2021-12-02T01:53:34.115" v="1997" actId="2711"/>
          <ac:spMkLst>
            <pc:docMk/>
            <pc:sldMk cId="2802772776" sldId="304"/>
            <ac:spMk id="23" creationId="{0D17544D-6BDC-784D-8FFE-35AEB96FBF2B}"/>
          </ac:spMkLst>
        </pc:spChg>
        <pc:spChg chg="mod">
          <ac:chgData name="Cai, Siyan" userId="c05b90bb-2bc8-44ab-ad43-2e6ade3411ba" providerId="ADAL" clId="{C54958F0-C461-B24E-AE79-787D70F5A7E5}" dt="2021-12-02T01:58:27.897" v="2162" actId="1076"/>
          <ac:spMkLst>
            <pc:docMk/>
            <pc:sldMk cId="2802772776" sldId="304"/>
            <ac:spMk id="24" creationId="{B0311DCF-57D0-8F49-89B3-C5FE6C0B874D}"/>
          </ac:spMkLst>
        </pc:spChg>
        <pc:grpChg chg="add mod">
          <ac:chgData name="Cai, Siyan" userId="c05b90bb-2bc8-44ab-ad43-2e6ade3411ba" providerId="ADAL" clId="{C54958F0-C461-B24E-AE79-787D70F5A7E5}" dt="2021-12-02T02:06:37.102" v="2317" actId="1076"/>
          <ac:grpSpMkLst>
            <pc:docMk/>
            <pc:sldMk cId="2802772776" sldId="304"/>
            <ac:grpSpMk id="6" creationId="{1A5C813C-D347-9644-ACE9-278655636ED0}"/>
          </ac:grpSpMkLst>
        </pc:grpChg>
        <pc:grpChg chg="mod">
          <ac:chgData name="Cai, Siyan" userId="c05b90bb-2bc8-44ab-ad43-2e6ade3411ba" providerId="ADAL" clId="{C54958F0-C461-B24E-AE79-787D70F5A7E5}" dt="2021-12-02T01:48:04.130" v="1829"/>
          <ac:grpSpMkLst>
            <pc:docMk/>
            <pc:sldMk cId="2802772776" sldId="304"/>
            <ac:grpSpMk id="12" creationId="{F9C762EB-0F65-8049-A832-A906A69137BE}"/>
          </ac:grpSpMkLst>
        </pc:grpChg>
        <pc:grpChg chg="mod">
          <ac:chgData name="Cai, Siyan" userId="c05b90bb-2bc8-44ab-ad43-2e6ade3411ba" providerId="ADAL" clId="{C54958F0-C461-B24E-AE79-787D70F5A7E5}" dt="2021-12-02T01:48:04.130" v="1829"/>
          <ac:grpSpMkLst>
            <pc:docMk/>
            <pc:sldMk cId="2802772776" sldId="304"/>
            <ac:grpSpMk id="14" creationId="{173EBC0E-CC0C-AE45-93C0-77975C6E212A}"/>
          </ac:grpSpMkLst>
        </pc:grpChg>
        <pc:grpChg chg="mod">
          <ac:chgData name="Cai, Siyan" userId="c05b90bb-2bc8-44ab-ad43-2e6ade3411ba" providerId="ADAL" clId="{C54958F0-C461-B24E-AE79-787D70F5A7E5}" dt="2021-12-02T01:48:04.130" v="1829"/>
          <ac:grpSpMkLst>
            <pc:docMk/>
            <pc:sldMk cId="2802772776" sldId="304"/>
            <ac:grpSpMk id="16" creationId="{90157FF1-8118-2540-BF37-2259CD313FF2}"/>
          </ac:grpSpMkLst>
        </pc:grpChg>
        <pc:cxnChg chg="mod">
          <ac:chgData name="Cai, Siyan" userId="c05b90bb-2bc8-44ab-ad43-2e6ade3411ba" providerId="ADAL" clId="{C54958F0-C461-B24E-AE79-787D70F5A7E5}" dt="2021-12-02T01:48:04.130" v="1829"/>
          <ac:cxnSpMkLst>
            <pc:docMk/>
            <pc:sldMk cId="2802772776" sldId="304"/>
            <ac:cxnSpMk id="7" creationId="{36FE42C7-39E7-0C41-AA61-64A7C80CB650}"/>
          </ac:cxnSpMkLst>
        </pc:cxnChg>
      </pc:sldChg>
      <pc:sldChg chg="addSp delSp modSp add del mod">
        <pc:chgData name="Cai, Siyan" userId="c05b90bb-2bc8-44ab-ad43-2e6ade3411ba" providerId="ADAL" clId="{C54958F0-C461-B24E-AE79-787D70F5A7E5}" dt="2021-12-02T04:51:50.828" v="3524" actId="2696"/>
        <pc:sldMkLst>
          <pc:docMk/>
          <pc:sldMk cId="904186051" sldId="305"/>
        </pc:sldMkLst>
        <pc:spChg chg="del">
          <ac:chgData name="Cai, Siyan" userId="c05b90bb-2bc8-44ab-ad43-2e6ade3411ba" providerId="ADAL" clId="{C54958F0-C461-B24E-AE79-787D70F5A7E5}" dt="2021-12-02T04:51:46.568" v="3515"/>
          <ac:spMkLst>
            <pc:docMk/>
            <pc:sldMk cId="904186051" sldId="305"/>
            <ac:spMk id="2" creationId="{57D42897-2A96-DE4A-9AD3-9C6A7759FDDA}"/>
          </ac:spMkLst>
        </pc:spChg>
        <pc:spChg chg="mod">
          <ac:chgData name="Cai, Siyan" userId="c05b90bb-2bc8-44ab-ad43-2e6ade3411ba" providerId="ADAL" clId="{C54958F0-C461-B24E-AE79-787D70F5A7E5}" dt="2021-12-02T04:51:46.568" v="3515"/>
          <ac:spMkLst>
            <pc:docMk/>
            <pc:sldMk cId="904186051" sldId="305"/>
            <ac:spMk id="3" creationId="{D07FB363-ECB4-C64C-8923-C53AF7288004}"/>
          </ac:spMkLst>
        </pc:spChg>
        <pc:spChg chg="mod">
          <ac:chgData name="Cai, Siyan" userId="c05b90bb-2bc8-44ab-ad43-2e6ade3411ba" providerId="ADAL" clId="{C54958F0-C461-B24E-AE79-787D70F5A7E5}" dt="2021-12-02T04:51:46.568" v="3515"/>
          <ac:spMkLst>
            <pc:docMk/>
            <pc:sldMk cId="904186051" sldId="305"/>
            <ac:spMk id="4" creationId="{F98AE602-2ED2-6D43-B996-55DBC4014FA3}"/>
          </ac:spMkLst>
        </pc:spChg>
        <pc:spChg chg="add mod">
          <ac:chgData name="Cai, Siyan" userId="c05b90bb-2bc8-44ab-ad43-2e6ade3411ba" providerId="ADAL" clId="{C54958F0-C461-B24E-AE79-787D70F5A7E5}" dt="2021-12-02T04:51:46.568" v="3515"/>
          <ac:spMkLst>
            <pc:docMk/>
            <pc:sldMk cId="904186051" sldId="305"/>
            <ac:spMk id="5" creationId="{4D5CD94C-0BE3-E948-BC99-16586F554548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7" creationId="{1484A464-4C6C-BA40-ADE0-6B62818C5A29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10" creationId="{17E5CDBE-CBE6-8642-AB61-F194AFCD1786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13" creationId="{6699AC12-BF9E-A840-910E-44E8E602F69A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17" creationId="{1226DCBB-3594-024E-9CC8-32A6C3E96EF0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19" creationId="{D2A97AF8-0014-5D47-9420-0FFF76524A44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20" creationId="{E7DC0646-5C8F-CE42-A43F-9546D16A409A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21" creationId="{566C4839-AAB4-1A4E-B5F4-8D09F158C7C6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23" creationId="{4E43B638-5E93-C44C-89BE-E62C9A14CEE6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25" creationId="{166D860C-FC04-0B4B-8466-B5B91C45AB38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26" creationId="{8DF434B4-E864-7E4C-BB56-C690A251FB45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27" creationId="{E28B3C73-3331-664E-9667-C70B52526FE2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29" creationId="{159F4271-D1C5-B74C-B1CA-AA67632FBAF5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31" creationId="{64129C35-34ED-2041-9F95-FC04DD601F4E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32" creationId="{C6101023-FB27-8F4F-9100-F5B3581C7F97}"/>
          </ac:spMkLst>
        </pc:spChg>
        <pc:spChg chg="mod">
          <ac:chgData name="Cai, Siyan" userId="c05b90bb-2bc8-44ab-ad43-2e6ade3411ba" providerId="ADAL" clId="{C54958F0-C461-B24E-AE79-787D70F5A7E5}" dt="2021-12-02T04:51:46.715" v="3522"/>
          <ac:spMkLst>
            <pc:docMk/>
            <pc:sldMk cId="904186051" sldId="305"/>
            <ac:spMk id="33" creationId="{5A14579B-BF8C-EC49-8556-539295D49F0D}"/>
          </ac:spMkLst>
        </pc:spChg>
        <pc:grpChg chg="add del mod">
          <ac:chgData name="Cai, Siyan" userId="c05b90bb-2bc8-44ab-ad43-2e6ade3411ba" providerId="ADAL" clId="{C54958F0-C461-B24E-AE79-787D70F5A7E5}" dt="2021-12-02T04:51:48.504" v="3523" actId="478"/>
          <ac:grpSpMkLst>
            <pc:docMk/>
            <pc:sldMk cId="904186051" sldId="305"/>
            <ac:grpSpMk id="6" creationId="{23757FB8-090B-6142-AD91-31419A7DF987}"/>
          </ac:grpSpMkLst>
        </pc:grpChg>
        <pc:grpChg chg="mod">
          <ac:chgData name="Cai, Siyan" userId="c05b90bb-2bc8-44ab-ad43-2e6ade3411ba" providerId="ADAL" clId="{C54958F0-C461-B24E-AE79-787D70F5A7E5}" dt="2021-12-02T04:51:46.715" v="3522"/>
          <ac:grpSpMkLst>
            <pc:docMk/>
            <pc:sldMk cId="904186051" sldId="305"/>
            <ac:grpSpMk id="8" creationId="{6A093836-FC0A-E74A-B71C-06E126A336BC}"/>
          </ac:grpSpMkLst>
        </pc:grpChg>
        <pc:grpChg chg="mod">
          <ac:chgData name="Cai, Siyan" userId="c05b90bb-2bc8-44ab-ad43-2e6ade3411ba" providerId="ADAL" clId="{C54958F0-C461-B24E-AE79-787D70F5A7E5}" dt="2021-12-02T04:51:46.715" v="3522"/>
          <ac:grpSpMkLst>
            <pc:docMk/>
            <pc:sldMk cId="904186051" sldId="305"/>
            <ac:grpSpMk id="9" creationId="{D2AE45BC-D983-3C48-BD7D-2703BFF6E3C2}"/>
          </ac:grpSpMkLst>
        </pc:grpChg>
        <pc:grpChg chg="mod">
          <ac:chgData name="Cai, Siyan" userId="c05b90bb-2bc8-44ab-ad43-2e6ade3411ba" providerId="ADAL" clId="{C54958F0-C461-B24E-AE79-787D70F5A7E5}" dt="2021-12-02T04:51:46.715" v="3522"/>
          <ac:grpSpMkLst>
            <pc:docMk/>
            <pc:sldMk cId="904186051" sldId="305"/>
            <ac:grpSpMk id="11" creationId="{0DA1796B-AAEB-B64D-B88B-07F34A5EF5AA}"/>
          </ac:grpSpMkLst>
        </pc:grpChg>
        <pc:grpChg chg="mod">
          <ac:chgData name="Cai, Siyan" userId="c05b90bb-2bc8-44ab-ad43-2e6ade3411ba" providerId="ADAL" clId="{C54958F0-C461-B24E-AE79-787D70F5A7E5}" dt="2021-12-02T04:51:46.715" v="3522"/>
          <ac:grpSpMkLst>
            <pc:docMk/>
            <pc:sldMk cId="904186051" sldId="305"/>
            <ac:grpSpMk id="12" creationId="{E0326DB4-09CC-EB4E-AABE-10FE04151D9E}"/>
          </ac:grpSpMkLst>
        </pc:grpChg>
        <pc:grpChg chg="mod">
          <ac:chgData name="Cai, Siyan" userId="c05b90bb-2bc8-44ab-ad43-2e6ade3411ba" providerId="ADAL" clId="{C54958F0-C461-B24E-AE79-787D70F5A7E5}" dt="2021-12-02T04:51:46.715" v="3522"/>
          <ac:grpSpMkLst>
            <pc:docMk/>
            <pc:sldMk cId="904186051" sldId="305"/>
            <ac:grpSpMk id="14" creationId="{38B73238-8AA8-004A-A19C-4F9E5F49FB08}"/>
          </ac:grpSpMkLst>
        </pc:grpChg>
        <pc:grpChg chg="mod">
          <ac:chgData name="Cai, Siyan" userId="c05b90bb-2bc8-44ab-ad43-2e6ade3411ba" providerId="ADAL" clId="{C54958F0-C461-B24E-AE79-787D70F5A7E5}" dt="2021-12-02T04:51:46.715" v="3522"/>
          <ac:grpSpMkLst>
            <pc:docMk/>
            <pc:sldMk cId="904186051" sldId="305"/>
            <ac:grpSpMk id="15" creationId="{E1C04927-C710-6B4E-A0FA-EDC8B643AF5F}"/>
          </ac:grpSpMkLst>
        </pc:grpChg>
        <pc:cxnChg chg="mod">
          <ac:chgData name="Cai, Siyan" userId="c05b90bb-2bc8-44ab-ad43-2e6ade3411ba" providerId="ADAL" clId="{C54958F0-C461-B24E-AE79-787D70F5A7E5}" dt="2021-12-02T04:51:46.715" v="3522"/>
          <ac:cxnSpMkLst>
            <pc:docMk/>
            <pc:sldMk cId="904186051" sldId="305"/>
            <ac:cxnSpMk id="16" creationId="{89B4428F-32F1-7A4D-B1A7-3665D5A26BD1}"/>
          </ac:cxnSpMkLst>
        </pc:cxnChg>
        <pc:cxnChg chg="mod">
          <ac:chgData name="Cai, Siyan" userId="c05b90bb-2bc8-44ab-ad43-2e6ade3411ba" providerId="ADAL" clId="{C54958F0-C461-B24E-AE79-787D70F5A7E5}" dt="2021-12-02T04:51:46.715" v="3522"/>
          <ac:cxnSpMkLst>
            <pc:docMk/>
            <pc:sldMk cId="904186051" sldId="305"/>
            <ac:cxnSpMk id="18" creationId="{7273D348-1214-0B41-B30E-F3B694C5EF74}"/>
          </ac:cxnSpMkLst>
        </pc:cxnChg>
        <pc:cxnChg chg="mod">
          <ac:chgData name="Cai, Siyan" userId="c05b90bb-2bc8-44ab-ad43-2e6ade3411ba" providerId="ADAL" clId="{C54958F0-C461-B24E-AE79-787D70F5A7E5}" dt="2021-12-02T04:51:46.715" v="3522"/>
          <ac:cxnSpMkLst>
            <pc:docMk/>
            <pc:sldMk cId="904186051" sldId="305"/>
            <ac:cxnSpMk id="22" creationId="{897E2DAE-BBC8-B340-8C6A-4863CB81E4C1}"/>
          </ac:cxnSpMkLst>
        </pc:cxnChg>
        <pc:cxnChg chg="mod">
          <ac:chgData name="Cai, Siyan" userId="c05b90bb-2bc8-44ab-ad43-2e6ade3411ba" providerId="ADAL" clId="{C54958F0-C461-B24E-AE79-787D70F5A7E5}" dt="2021-12-02T04:51:46.715" v="3522"/>
          <ac:cxnSpMkLst>
            <pc:docMk/>
            <pc:sldMk cId="904186051" sldId="305"/>
            <ac:cxnSpMk id="24" creationId="{46C11F41-CA4D-7745-B60B-E98BBD27F4FF}"/>
          </ac:cxnSpMkLst>
        </pc:cxnChg>
        <pc:cxnChg chg="mod">
          <ac:chgData name="Cai, Siyan" userId="c05b90bb-2bc8-44ab-ad43-2e6ade3411ba" providerId="ADAL" clId="{C54958F0-C461-B24E-AE79-787D70F5A7E5}" dt="2021-12-02T04:51:46.715" v="3522"/>
          <ac:cxnSpMkLst>
            <pc:docMk/>
            <pc:sldMk cId="904186051" sldId="305"/>
            <ac:cxnSpMk id="28" creationId="{F1955900-3B1C-B54C-A213-98004816A088}"/>
          </ac:cxnSpMkLst>
        </pc:cxnChg>
        <pc:cxnChg chg="mod">
          <ac:chgData name="Cai, Siyan" userId="c05b90bb-2bc8-44ab-ad43-2e6ade3411ba" providerId="ADAL" clId="{C54958F0-C461-B24E-AE79-787D70F5A7E5}" dt="2021-12-02T04:51:46.715" v="3522"/>
          <ac:cxnSpMkLst>
            <pc:docMk/>
            <pc:sldMk cId="904186051" sldId="305"/>
            <ac:cxnSpMk id="30" creationId="{BEA3D97F-C3A6-3B49-8DE4-D16688872ED0}"/>
          </ac:cxnSpMkLst>
        </pc:cxnChg>
      </pc:sldChg>
      <pc:sldChg chg="addSp delSp modSp new mod">
        <pc:chgData name="Cai, Siyan" userId="c05b90bb-2bc8-44ab-ad43-2e6ade3411ba" providerId="ADAL" clId="{C54958F0-C461-B24E-AE79-787D70F5A7E5}" dt="2021-12-02T16:05:15.987" v="5943" actId="113"/>
        <pc:sldMkLst>
          <pc:docMk/>
          <pc:sldMk cId="2992417359" sldId="305"/>
        </pc:sldMkLst>
        <pc:spChg chg="del">
          <ac:chgData name="Cai, Siyan" userId="c05b90bb-2bc8-44ab-ad43-2e6ade3411ba" providerId="ADAL" clId="{C54958F0-C461-B24E-AE79-787D70F5A7E5}" dt="2021-12-02T15:41:00.777" v="4957" actId="478"/>
          <ac:spMkLst>
            <pc:docMk/>
            <pc:sldMk cId="2992417359" sldId="305"/>
            <ac:spMk id="2" creationId="{C993A348-CEA5-3A4C-924E-2881B95D3373}"/>
          </ac:spMkLst>
        </pc:spChg>
        <pc:spChg chg="del">
          <ac:chgData name="Cai, Siyan" userId="c05b90bb-2bc8-44ab-ad43-2e6ade3411ba" providerId="ADAL" clId="{C54958F0-C461-B24E-AE79-787D70F5A7E5}" dt="2021-12-02T16:04:19.801" v="5925" actId="478"/>
          <ac:spMkLst>
            <pc:docMk/>
            <pc:sldMk cId="2992417359" sldId="305"/>
            <ac:spMk id="3" creationId="{823E8F5F-97C3-6D44-AC11-0D579B1E2840}"/>
          </ac:spMkLst>
        </pc:spChg>
        <pc:spChg chg="mod">
          <ac:chgData name="Cai, Siyan" userId="c05b90bb-2bc8-44ab-ad43-2e6ade3411ba" providerId="ADAL" clId="{C54958F0-C461-B24E-AE79-787D70F5A7E5}" dt="2021-12-02T15:14:08.252" v="4504" actId="20577"/>
          <ac:spMkLst>
            <pc:docMk/>
            <pc:sldMk cId="2992417359" sldId="305"/>
            <ac:spMk id="4" creationId="{A6A82E05-092D-124A-9237-EA2A14DFAE88}"/>
          </ac:spMkLst>
        </pc:spChg>
        <pc:spChg chg="mod">
          <ac:chgData name="Cai, Siyan" userId="c05b90bb-2bc8-44ab-ad43-2e6ade3411ba" providerId="ADAL" clId="{C54958F0-C461-B24E-AE79-787D70F5A7E5}" dt="2021-12-02T16:05:15.987" v="5943" actId="113"/>
          <ac:spMkLst>
            <pc:docMk/>
            <pc:sldMk cId="2992417359" sldId="305"/>
            <ac:spMk id="5" creationId="{BB196C0C-7429-CD47-A4EF-4A336D01C661}"/>
          </ac:spMkLst>
        </pc:spChg>
        <pc:spChg chg="add mod">
          <ac:chgData name="Cai, Siyan" userId="c05b90bb-2bc8-44ab-ad43-2e6ade3411ba" providerId="ADAL" clId="{C54958F0-C461-B24E-AE79-787D70F5A7E5}" dt="2021-12-02T16:04:35.345" v="5930" actId="20577"/>
          <ac:spMkLst>
            <pc:docMk/>
            <pc:sldMk cId="2992417359" sldId="305"/>
            <ac:spMk id="7" creationId="{099472B9-C9C9-AB4F-94D8-E27E6734FC2D}"/>
          </ac:spMkLst>
        </pc:spChg>
        <pc:graphicFrameChg chg="add mod">
          <ac:chgData name="Cai, Siyan" userId="c05b90bb-2bc8-44ab-ad43-2e6ade3411ba" providerId="ADAL" clId="{C54958F0-C461-B24E-AE79-787D70F5A7E5}" dt="2021-12-02T15:42:30.906" v="4972" actId="1076"/>
          <ac:graphicFrameMkLst>
            <pc:docMk/>
            <pc:sldMk cId="2992417359" sldId="305"/>
            <ac:graphicFrameMk id="6" creationId="{03C1073F-BFAC-5146-B2CA-1BAF66F2277A}"/>
          </ac:graphicFrameMkLst>
        </pc:graphicFrameChg>
      </pc:sldChg>
      <pc:sldChg chg="addSp delSp modSp add del mod">
        <pc:chgData name="Cai, Siyan" userId="c05b90bb-2bc8-44ab-ad43-2e6ade3411ba" providerId="ADAL" clId="{C54958F0-C461-B24E-AE79-787D70F5A7E5}" dt="2021-12-02T05:17:56.197" v="3918" actId="2696"/>
        <pc:sldMkLst>
          <pc:docMk/>
          <pc:sldMk cId="3471335029" sldId="305"/>
        </pc:sldMkLst>
        <pc:spChg chg="del">
          <ac:chgData name="Cai, Siyan" userId="c05b90bb-2bc8-44ab-ad43-2e6ade3411ba" providerId="ADAL" clId="{C54958F0-C461-B24E-AE79-787D70F5A7E5}" dt="2021-12-02T04:52:19.685" v="3526"/>
          <ac:spMkLst>
            <pc:docMk/>
            <pc:sldMk cId="3471335029" sldId="305"/>
            <ac:spMk id="2" creationId="{CFAD2122-3F0F-6846-A3D6-7C131537ED70}"/>
          </ac:spMkLst>
        </pc:spChg>
        <pc:spChg chg="mod">
          <ac:chgData name="Cai, Siyan" userId="c05b90bb-2bc8-44ab-ad43-2e6ade3411ba" providerId="ADAL" clId="{C54958F0-C461-B24E-AE79-787D70F5A7E5}" dt="2021-12-02T04:52:19.685" v="3526"/>
          <ac:spMkLst>
            <pc:docMk/>
            <pc:sldMk cId="3471335029" sldId="305"/>
            <ac:spMk id="3" creationId="{34C44826-2363-C947-B95A-D66571A63A10}"/>
          </ac:spMkLst>
        </pc:spChg>
        <pc:spChg chg="mod">
          <ac:chgData name="Cai, Siyan" userId="c05b90bb-2bc8-44ab-ad43-2e6ade3411ba" providerId="ADAL" clId="{C54958F0-C461-B24E-AE79-787D70F5A7E5}" dt="2021-12-02T04:52:19.685" v="3526"/>
          <ac:spMkLst>
            <pc:docMk/>
            <pc:sldMk cId="3471335029" sldId="305"/>
            <ac:spMk id="4" creationId="{25FDA253-469F-A343-94AA-44FD4900CF7E}"/>
          </ac:spMkLst>
        </pc:spChg>
        <pc:spChg chg="add del mod">
          <ac:chgData name="Cai, Siyan" userId="c05b90bb-2bc8-44ab-ad43-2e6ade3411ba" providerId="ADAL" clId="{C54958F0-C461-B24E-AE79-787D70F5A7E5}" dt="2021-12-02T04:52:23.898" v="3534" actId="478"/>
          <ac:spMkLst>
            <pc:docMk/>
            <pc:sldMk cId="3471335029" sldId="305"/>
            <ac:spMk id="5" creationId="{845E1E1A-2B2E-B04B-ABFF-76B0C2852831}"/>
          </ac:spMkLst>
        </pc:spChg>
        <pc:spChg chg="mod">
          <ac:chgData name="Cai, Siyan" userId="c05b90bb-2bc8-44ab-ad43-2e6ade3411ba" providerId="ADAL" clId="{C54958F0-C461-B24E-AE79-787D70F5A7E5}" dt="2021-12-02T04:52:58.502" v="3589" actId="20577"/>
          <ac:spMkLst>
            <pc:docMk/>
            <pc:sldMk cId="3471335029" sldId="305"/>
            <ac:spMk id="7" creationId="{E919A1AB-699B-A843-8871-BA18CFDEAAF6}"/>
          </ac:spMkLst>
        </pc:spChg>
        <pc:spChg chg="del mod">
          <ac:chgData name="Cai, Siyan" userId="c05b90bb-2bc8-44ab-ad43-2e6ade3411ba" providerId="ADAL" clId="{C54958F0-C461-B24E-AE79-787D70F5A7E5}" dt="2021-12-02T04:52:25.935" v="3535" actId="478"/>
          <ac:spMkLst>
            <pc:docMk/>
            <pc:sldMk cId="3471335029" sldId="305"/>
            <ac:spMk id="8" creationId="{0584954F-243B-334E-BDFB-0D0265981E3D}"/>
          </ac:spMkLst>
        </pc:spChg>
        <pc:spChg chg="mod">
          <ac:chgData name="Cai, Siyan" userId="c05b90bb-2bc8-44ab-ad43-2e6ade3411ba" providerId="ADAL" clId="{C54958F0-C461-B24E-AE79-787D70F5A7E5}" dt="2021-12-02T04:52:19.896" v="3533"/>
          <ac:spMkLst>
            <pc:docMk/>
            <pc:sldMk cId="3471335029" sldId="305"/>
            <ac:spMk id="13" creationId="{02CED11B-673C-9547-A04F-560F664CB947}"/>
          </ac:spMkLst>
        </pc:spChg>
        <pc:spChg chg="mod">
          <ac:chgData name="Cai, Siyan" userId="c05b90bb-2bc8-44ab-ad43-2e6ade3411ba" providerId="ADAL" clId="{C54958F0-C461-B24E-AE79-787D70F5A7E5}" dt="2021-12-02T04:52:19.896" v="3533"/>
          <ac:spMkLst>
            <pc:docMk/>
            <pc:sldMk cId="3471335029" sldId="305"/>
            <ac:spMk id="15" creationId="{D1B6E032-F099-794C-93D3-07C8D7C3B51E}"/>
          </ac:spMkLst>
        </pc:spChg>
        <pc:spChg chg="mod">
          <ac:chgData name="Cai, Siyan" userId="c05b90bb-2bc8-44ab-ad43-2e6ade3411ba" providerId="ADAL" clId="{C54958F0-C461-B24E-AE79-787D70F5A7E5}" dt="2021-12-02T05:17:31.675" v="3913" actId="403"/>
          <ac:spMkLst>
            <pc:docMk/>
            <pc:sldMk cId="3471335029" sldId="305"/>
            <ac:spMk id="16" creationId="{8B441D48-58DC-C94E-AA18-D63DB48B8BF3}"/>
          </ac:spMkLst>
        </pc:spChg>
        <pc:spChg chg="del mod">
          <ac:chgData name="Cai, Siyan" userId="c05b90bb-2bc8-44ab-ad43-2e6ade3411ba" providerId="ADAL" clId="{C54958F0-C461-B24E-AE79-787D70F5A7E5}" dt="2021-12-02T05:17:20.701" v="3893" actId="478"/>
          <ac:spMkLst>
            <pc:docMk/>
            <pc:sldMk cId="3471335029" sldId="305"/>
            <ac:spMk id="17" creationId="{E6149D2A-762C-2F47-AD47-A5DE35FDB33F}"/>
          </ac:spMkLst>
        </pc:spChg>
        <pc:spChg chg="mod">
          <ac:chgData name="Cai, Siyan" userId="c05b90bb-2bc8-44ab-ad43-2e6ade3411ba" providerId="ADAL" clId="{C54958F0-C461-B24E-AE79-787D70F5A7E5}" dt="2021-12-02T04:52:19.896" v="3533"/>
          <ac:spMkLst>
            <pc:docMk/>
            <pc:sldMk cId="3471335029" sldId="305"/>
            <ac:spMk id="18" creationId="{FCB9FCA3-5FD4-9C40-BA74-85293E4D2F0C}"/>
          </ac:spMkLst>
        </pc:spChg>
        <pc:spChg chg="mod">
          <ac:chgData name="Cai, Siyan" userId="c05b90bb-2bc8-44ab-ad43-2e6ade3411ba" providerId="ADAL" clId="{C54958F0-C461-B24E-AE79-787D70F5A7E5}" dt="2021-12-02T04:52:19.896" v="3533"/>
          <ac:spMkLst>
            <pc:docMk/>
            <pc:sldMk cId="3471335029" sldId="305"/>
            <ac:spMk id="20" creationId="{670855E5-7FE1-2946-AE91-FF4808B0DB10}"/>
          </ac:spMkLst>
        </pc:spChg>
        <pc:spChg chg="mod">
          <ac:chgData name="Cai, Siyan" userId="c05b90bb-2bc8-44ab-ad43-2e6ade3411ba" providerId="ADAL" clId="{C54958F0-C461-B24E-AE79-787D70F5A7E5}" dt="2021-12-02T05:16:44.319" v="3839" actId="403"/>
          <ac:spMkLst>
            <pc:docMk/>
            <pc:sldMk cId="3471335029" sldId="305"/>
            <ac:spMk id="21" creationId="{FBEA877E-9389-174F-9ACF-243F9E3302D9}"/>
          </ac:spMkLst>
        </pc:spChg>
        <pc:spChg chg="mod">
          <ac:chgData name="Cai, Siyan" userId="c05b90bb-2bc8-44ab-ad43-2e6ade3411ba" providerId="ADAL" clId="{C54958F0-C461-B24E-AE79-787D70F5A7E5}" dt="2021-12-02T05:17:13.981" v="3892" actId="20577"/>
          <ac:spMkLst>
            <pc:docMk/>
            <pc:sldMk cId="3471335029" sldId="305"/>
            <ac:spMk id="22" creationId="{95452CBA-F830-1D4C-8707-F3194B22EFC4}"/>
          </ac:spMkLst>
        </pc:spChg>
        <pc:spChg chg="mod">
          <ac:chgData name="Cai, Siyan" userId="c05b90bb-2bc8-44ab-ad43-2e6ade3411ba" providerId="ADAL" clId="{C54958F0-C461-B24E-AE79-787D70F5A7E5}" dt="2021-12-02T04:52:19.896" v="3533"/>
          <ac:spMkLst>
            <pc:docMk/>
            <pc:sldMk cId="3471335029" sldId="305"/>
            <ac:spMk id="23" creationId="{716BFC7C-CDBC-4340-A68C-46DA68588D6A}"/>
          </ac:spMkLst>
        </pc:spChg>
        <pc:spChg chg="mod">
          <ac:chgData name="Cai, Siyan" userId="c05b90bb-2bc8-44ab-ad43-2e6ade3411ba" providerId="ADAL" clId="{C54958F0-C461-B24E-AE79-787D70F5A7E5}" dt="2021-12-02T04:52:19.896" v="3533"/>
          <ac:spMkLst>
            <pc:docMk/>
            <pc:sldMk cId="3471335029" sldId="305"/>
            <ac:spMk id="25" creationId="{94E8EB25-DD9E-484E-8277-3A498AAA0483}"/>
          </ac:spMkLst>
        </pc:spChg>
        <pc:spChg chg="mod">
          <ac:chgData name="Cai, Siyan" userId="c05b90bb-2bc8-44ab-ad43-2e6ade3411ba" providerId="ADAL" clId="{C54958F0-C461-B24E-AE79-787D70F5A7E5}" dt="2021-12-02T04:53:45.436" v="3645" actId="403"/>
          <ac:spMkLst>
            <pc:docMk/>
            <pc:sldMk cId="3471335029" sldId="305"/>
            <ac:spMk id="26" creationId="{D63CCC32-6E2E-8943-9A1A-D25DF9DF2676}"/>
          </ac:spMkLst>
        </pc:spChg>
        <pc:spChg chg="mod">
          <ac:chgData name="Cai, Siyan" userId="c05b90bb-2bc8-44ab-ad43-2e6ade3411ba" providerId="ADAL" clId="{C54958F0-C461-B24E-AE79-787D70F5A7E5}" dt="2021-12-02T05:16:20.111" v="3809" actId="5793"/>
          <ac:spMkLst>
            <pc:docMk/>
            <pc:sldMk cId="3471335029" sldId="305"/>
            <ac:spMk id="27" creationId="{85490309-DD75-1F43-8E02-EB362CCDB766}"/>
          </ac:spMkLst>
        </pc:spChg>
        <pc:grpChg chg="add del mod">
          <ac:chgData name="Cai, Siyan" userId="c05b90bb-2bc8-44ab-ad43-2e6ade3411ba" providerId="ADAL" clId="{C54958F0-C461-B24E-AE79-787D70F5A7E5}" dt="2021-12-02T05:17:41.295" v="3914" actId="21"/>
          <ac:grpSpMkLst>
            <pc:docMk/>
            <pc:sldMk cId="3471335029" sldId="305"/>
            <ac:grpSpMk id="6" creationId="{C0EAFDA4-42F4-5248-907C-05EA539A6C68}"/>
          </ac:grpSpMkLst>
        </pc:grpChg>
        <pc:grpChg chg="mod">
          <ac:chgData name="Cai, Siyan" userId="c05b90bb-2bc8-44ab-ad43-2e6ade3411ba" providerId="ADAL" clId="{C54958F0-C461-B24E-AE79-787D70F5A7E5}" dt="2021-12-02T04:52:19.896" v="3533"/>
          <ac:grpSpMkLst>
            <pc:docMk/>
            <pc:sldMk cId="3471335029" sldId="305"/>
            <ac:grpSpMk id="9" creationId="{D94A464D-61FB-E947-921F-46894687C276}"/>
          </ac:grpSpMkLst>
        </pc:grpChg>
        <pc:grpChg chg="mod">
          <ac:chgData name="Cai, Siyan" userId="c05b90bb-2bc8-44ab-ad43-2e6ade3411ba" providerId="ADAL" clId="{C54958F0-C461-B24E-AE79-787D70F5A7E5}" dt="2021-12-02T04:52:19.896" v="3533"/>
          <ac:grpSpMkLst>
            <pc:docMk/>
            <pc:sldMk cId="3471335029" sldId="305"/>
            <ac:grpSpMk id="10" creationId="{6509763F-F34F-8D4F-8C56-6F997EF3918E}"/>
          </ac:grpSpMkLst>
        </pc:grpChg>
        <pc:grpChg chg="mod">
          <ac:chgData name="Cai, Siyan" userId="c05b90bb-2bc8-44ab-ad43-2e6ade3411ba" providerId="ADAL" clId="{C54958F0-C461-B24E-AE79-787D70F5A7E5}" dt="2021-12-02T04:52:19.896" v="3533"/>
          <ac:grpSpMkLst>
            <pc:docMk/>
            <pc:sldMk cId="3471335029" sldId="305"/>
            <ac:grpSpMk id="11" creationId="{3FCC613F-6FF7-DE47-AB1E-09986D351D60}"/>
          </ac:grpSpMkLst>
        </pc:grpChg>
        <pc:grpChg chg="mod">
          <ac:chgData name="Cai, Siyan" userId="c05b90bb-2bc8-44ab-ad43-2e6ade3411ba" providerId="ADAL" clId="{C54958F0-C461-B24E-AE79-787D70F5A7E5}" dt="2021-12-02T04:52:19.896" v="3533"/>
          <ac:grpSpMkLst>
            <pc:docMk/>
            <pc:sldMk cId="3471335029" sldId="305"/>
            <ac:grpSpMk id="12" creationId="{5FC2BAEB-F318-AD48-BCF7-4F933E6713FE}"/>
          </ac:grpSpMkLst>
        </pc:grpChg>
        <pc:cxnChg chg="mod">
          <ac:chgData name="Cai, Siyan" userId="c05b90bb-2bc8-44ab-ad43-2e6ade3411ba" providerId="ADAL" clId="{C54958F0-C461-B24E-AE79-787D70F5A7E5}" dt="2021-12-02T04:52:19.896" v="3533"/>
          <ac:cxnSpMkLst>
            <pc:docMk/>
            <pc:sldMk cId="3471335029" sldId="305"/>
            <ac:cxnSpMk id="14" creationId="{62B5849F-EA8D-164B-B934-CB0FB0CD429A}"/>
          </ac:cxnSpMkLst>
        </pc:cxnChg>
        <pc:cxnChg chg="mod">
          <ac:chgData name="Cai, Siyan" userId="c05b90bb-2bc8-44ab-ad43-2e6ade3411ba" providerId="ADAL" clId="{C54958F0-C461-B24E-AE79-787D70F5A7E5}" dt="2021-12-02T04:52:19.896" v="3533"/>
          <ac:cxnSpMkLst>
            <pc:docMk/>
            <pc:sldMk cId="3471335029" sldId="305"/>
            <ac:cxnSpMk id="19" creationId="{3B630D24-5699-5F45-A189-1FFD486F14D7}"/>
          </ac:cxnSpMkLst>
        </pc:cxnChg>
        <pc:cxnChg chg="mod">
          <ac:chgData name="Cai, Siyan" userId="c05b90bb-2bc8-44ab-ad43-2e6ade3411ba" providerId="ADAL" clId="{C54958F0-C461-B24E-AE79-787D70F5A7E5}" dt="2021-12-02T04:52:19.896" v="3533"/>
          <ac:cxnSpMkLst>
            <pc:docMk/>
            <pc:sldMk cId="3471335029" sldId="305"/>
            <ac:cxnSpMk id="24" creationId="{87CCCD60-8E2E-0A4C-AD5C-2FA6E3F82837}"/>
          </ac:cxnSpMkLst>
        </pc:cxnChg>
      </pc:sldChg>
      <pc:sldChg chg="addSp delSp modSp add del mod">
        <pc:chgData name="Cai, Siyan" userId="c05b90bb-2bc8-44ab-ad43-2e6ade3411ba" providerId="ADAL" clId="{C54958F0-C461-B24E-AE79-787D70F5A7E5}" dt="2021-12-02T15:50:35.890" v="5022" actId="2696"/>
        <pc:sldMkLst>
          <pc:docMk/>
          <pc:sldMk cId="3454326850" sldId="306"/>
        </pc:sldMkLst>
        <pc:spChg chg="del">
          <ac:chgData name="Cai, Siyan" userId="c05b90bb-2bc8-44ab-ad43-2e6ade3411ba" providerId="ADAL" clId="{C54958F0-C461-B24E-AE79-787D70F5A7E5}" dt="2021-12-02T15:48:36.502" v="4996"/>
          <ac:spMkLst>
            <pc:docMk/>
            <pc:sldMk cId="3454326850" sldId="306"/>
            <ac:spMk id="2" creationId="{4852A837-DD67-CF4C-8A0F-576212DEDE1B}"/>
          </ac:spMkLst>
        </pc:spChg>
        <pc:spChg chg="mod">
          <ac:chgData name="Cai, Siyan" userId="c05b90bb-2bc8-44ab-ad43-2e6ade3411ba" providerId="ADAL" clId="{C54958F0-C461-B24E-AE79-787D70F5A7E5}" dt="2021-12-02T15:48:36.502" v="4996"/>
          <ac:spMkLst>
            <pc:docMk/>
            <pc:sldMk cId="3454326850" sldId="306"/>
            <ac:spMk id="3" creationId="{F390B2D0-A78B-9C43-9233-0D65EA40A779}"/>
          </ac:spMkLst>
        </pc:spChg>
        <pc:spChg chg="mod">
          <ac:chgData name="Cai, Siyan" userId="c05b90bb-2bc8-44ab-ad43-2e6ade3411ba" providerId="ADAL" clId="{C54958F0-C461-B24E-AE79-787D70F5A7E5}" dt="2021-12-02T15:48:36.502" v="4996"/>
          <ac:spMkLst>
            <pc:docMk/>
            <pc:sldMk cId="3454326850" sldId="306"/>
            <ac:spMk id="4" creationId="{CCC0D9DD-A0A7-2444-A160-7B027AF44262}"/>
          </ac:spMkLst>
        </pc:spChg>
        <pc:spChg chg="add mod">
          <ac:chgData name="Cai, Siyan" userId="c05b90bb-2bc8-44ab-ad43-2e6ade3411ba" providerId="ADAL" clId="{C54958F0-C461-B24E-AE79-787D70F5A7E5}" dt="2021-12-02T15:48:36.502" v="4996"/>
          <ac:spMkLst>
            <pc:docMk/>
            <pc:sldMk cId="3454326850" sldId="306"/>
            <ac:spMk id="5" creationId="{FB4C34FC-DD51-5643-BD1F-F8FAE05A3806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7" creationId="{BA0F961D-9856-094E-87AB-B10E43DE0522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8" creationId="{6547037C-A60A-BB41-AE03-F0EFBB5F8FBB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10" creationId="{F38D35FB-E3B7-C54C-9968-6EF748BB6675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11" creationId="{2AEAC35F-29C6-7243-9731-3321BE18AC1F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12" creationId="{63605017-F208-F441-ABD0-DA07BDA3309C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13" creationId="{C6A20351-FA92-5642-B8BE-5488757188BB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15" creationId="{3F202461-0409-5144-BD95-85344DB31018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16" creationId="{5D40677B-CB89-0843-8A34-70ADFEDE43F9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17" creationId="{C318185D-254E-964A-9D18-10FBFF7F1898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18" creationId="{7749428B-FF8D-514A-A683-A1FA7D319C69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20" creationId="{F8BA83FF-972D-C042-9ECB-F9E3F853389A}"/>
          </ac:spMkLst>
        </pc:spChg>
        <pc:spChg chg="mod">
          <ac:chgData name="Cai, Siyan" userId="c05b90bb-2bc8-44ab-ad43-2e6ade3411ba" providerId="ADAL" clId="{C54958F0-C461-B24E-AE79-787D70F5A7E5}" dt="2021-12-02T15:48:36.752" v="5003"/>
          <ac:spMkLst>
            <pc:docMk/>
            <pc:sldMk cId="3454326850" sldId="306"/>
            <ac:spMk id="21" creationId="{E64C7448-90A9-2141-9496-A8A9F2BAD918}"/>
          </ac:spMkLst>
        </pc:spChg>
        <pc:grpChg chg="add mod">
          <ac:chgData name="Cai, Siyan" userId="c05b90bb-2bc8-44ab-ad43-2e6ade3411ba" providerId="ADAL" clId="{C54958F0-C461-B24E-AE79-787D70F5A7E5}" dt="2021-12-02T15:48:36.752" v="5003"/>
          <ac:grpSpMkLst>
            <pc:docMk/>
            <pc:sldMk cId="3454326850" sldId="306"/>
            <ac:grpSpMk id="6" creationId="{32381F1C-F61E-5B47-9EC8-BDE2884C0A11}"/>
          </ac:grpSpMkLst>
        </pc:grpChg>
        <pc:cxnChg chg="mod">
          <ac:chgData name="Cai, Siyan" userId="c05b90bb-2bc8-44ab-ad43-2e6ade3411ba" providerId="ADAL" clId="{C54958F0-C461-B24E-AE79-787D70F5A7E5}" dt="2021-12-02T15:48:36.752" v="5003"/>
          <ac:cxnSpMkLst>
            <pc:docMk/>
            <pc:sldMk cId="3454326850" sldId="306"/>
            <ac:cxnSpMk id="9" creationId="{BDCDB80E-3D14-394C-92DB-3D97372BCAA1}"/>
          </ac:cxnSpMkLst>
        </pc:cxnChg>
        <pc:cxnChg chg="mod">
          <ac:chgData name="Cai, Siyan" userId="c05b90bb-2bc8-44ab-ad43-2e6ade3411ba" providerId="ADAL" clId="{C54958F0-C461-B24E-AE79-787D70F5A7E5}" dt="2021-12-02T15:48:36.752" v="5003"/>
          <ac:cxnSpMkLst>
            <pc:docMk/>
            <pc:sldMk cId="3454326850" sldId="306"/>
            <ac:cxnSpMk id="14" creationId="{838AC86D-2046-2644-B4F5-8653D1AA5E29}"/>
          </ac:cxnSpMkLst>
        </pc:cxnChg>
        <pc:cxnChg chg="mod">
          <ac:chgData name="Cai, Siyan" userId="c05b90bb-2bc8-44ab-ad43-2e6ade3411ba" providerId="ADAL" clId="{C54958F0-C461-B24E-AE79-787D70F5A7E5}" dt="2021-12-02T15:48:36.752" v="5003"/>
          <ac:cxnSpMkLst>
            <pc:docMk/>
            <pc:sldMk cId="3454326850" sldId="306"/>
            <ac:cxnSpMk id="19" creationId="{29E12527-E7F6-714D-8929-3153B69E81DD}"/>
          </ac:cxnSpMkLst>
        </pc:cxnChg>
      </pc:sldChg>
      <pc:sldChg chg="addSp delSp modSp add del mod">
        <pc:chgData name="Cai, Siyan" userId="c05b90bb-2bc8-44ab-ad43-2e6ade3411ba" providerId="ADAL" clId="{C54958F0-C461-B24E-AE79-787D70F5A7E5}" dt="2021-12-02T16:04:05.160" v="5924" actId="2696"/>
        <pc:sldMkLst>
          <pc:docMk/>
          <pc:sldMk cId="887676063" sldId="307"/>
        </pc:sldMkLst>
        <pc:spChg chg="del">
          <ac:chgData name="Cai, Siyan" userId="c05b90bb-2bc8-44ab-ad43-2e6ade3411ba" providerId="ADAL" clId="{C54958F0-C461-B24E-AE79-787D70F5A7E5}" dt="2021-12-02T15:50:26.484" v="5005"/>
          <ac:spMkLst>
            <pc:docMk/>
            <pc:sldMk cId="887676063" sldId="307"/>
            <ac:spMk id="2" creationId="{B14D5B0C-D447-2240-8D93-BEE82383EB88}"/>
          </ac:spMkLst>
        </pc:spChg>
        <pc:spChg chg="del mod">
          <ac:chgData name="Cai, Siyan" userId="c05b90bb-2bc8-44ab-ad43-2e6ade3411ba" providerId="ADAL" clId="{C54958F0-C461-B24E-AE79-787D70F5A7E5}" dt="2021-12-02T15:51:26.677" v="5030" actId="478"/>
          <ac:spMkLst>
            <pc:docMk/>
            <pc:sldMk cId="887676063" sldId="307"/>
            <ac:spMk id="3" creationId="{71AA1639-A378-954A-A7D5-155DCFB9C9FC}"/>
          </ac:spMkLst>
        </pc:spChg>
        <pc:spChg chg="del mod">
          <ac:chgData name="Cai, Siyan" userId="c05b90bb-2bc8-44ab-ad43-2e6ade3411ba" providerId="ADAL" clId="{C54958F0-C461-B24E-AE79-787D70F5A7E5}" dt="2021-12-02T15:51:24.045" v="5029" actId="478"/>
          <ac:spMkLst>
            <pc:docMk/>
            <pc:sldMk cId="887676063" sldId="307"/>
            <ac:spMk id="4" creationId="{894A3323-46DF-CD48-917B-58BDD43F0D10}"/>
          </ac:spMkLst>
        </pc:spChg>
        <pc:spChg chg="add mod">
          <ac:chgData name="Cai, Siyan" userId="c05b90bb-2bc8-44ab-ad43-2e6ade3411ba" providerId="ADAL" clId="{C54958F0-C461-B24E-AE79-787D70F5A7E5}" dt="2021-12-02T15:50:26.484" v="5005"/>
          <ac:spMkLst>
            <pc:docMk/>
            <pc:sldMk cId="887676063" sldId="307"/>
            <ac:spMk id="5" creationId="{5BADEB36-582C-354E-A18D-730CCE72529B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7" creationId="{287A61A1-3EFF-5447-B3DD-894E6EA5060A}"/>
          </ac:spMkLst>
        </pc:spChg>
        <pc:spChg chg="del mod">
          <ac:chgData name="Cai, Siyan" userId="c05b90bb-2bc8-44ab-ad43-2e6ade3411ba" providerId="ADAL" clId="{C54958F0-C461-B24E-AE79-787D70F5A7E5}" dt="2021-12-02T15:51:04.662" v="5024" actId="478"/>
          <ac:spMkLst>
            <pc:docMk/>
            <pc:sldMk cId="887676063" sldId="307"/>
            <ac:spMk id="8" creationId="{50AE119F-D21C-FA46-8E8C-B8900149E26F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16" creationId="{9A883DC9-F4AD-0640-8A44-44C8B9036504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17" creationId="{3B0BB794-5207-F445-AA43-38099EC1693A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18" creationId="{49E3BA2F-7679-A34C-B73E-1D7673DBDD88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19" creationId="{89D5E644-349B-3147-91FF-053B9D9B1156}"/>
          </ac:spMkLst>
        </pc:spChg>
        <pc:spChg chg="del mod">
          <ac:chgData name="Cai, Siyan" userId="c05b90bb-2bc8-44ab-ad43-2e6ade3411ba" providerId="ADAL" clId="{C54958F0-C461-B24E-AE79-787D70F5A7E5}" dt="2021-12-02T15:52:54.308" v="5243" actId="478"/>
          <ac:spMkLst>
            <pc:docMk/>
            <pc:sldMk cId="887676063" sldId="307"/>
            <ac:spMk id="20" creationId="{C98ADCAF-65A6-A34D-BB7A-A6F5CF2E40A3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22" creationId="{E2DE6DFA-CEAC-9C40-A953-70026F41C0BA}"/>
          </ac:spMkLst>
        </pc:spChg>
        <pc:spChg chg="mod">
          <ac:chgData name="Cai, Siyan" userId="c05b90bb-2bc8-44ab-ad43-2e6ade3411ba" providerId="ADAL" clId="{C54958F0-C461-B24E-AE79-787D70F5A7E5}" dt="2021-12-02T15:57:58.997" v="5544" actId="14100"/>
          <ac:spMkLst>
            <pc:docMk/>
            <pc:sldMk cId="887676063" sldId="307"/>
            <ac:spMk id="23" creationId="{5B444AB2-297D-D54C-B58C-7E9C35748C8C}"/>
          </ac:spMkLst>
        </pc:spChg>
        <pc:spChg chg="mod">
          <ac:chgData name="Cai, Siyan" userId="c05b90bb-2bc8-44ab-ad43-2e6ade3411ba" providerId="ADAL" clId="{C54958F0-C461-B24E-AE79-787D70F5A7E5}" dt="2021-12-02T15:59:43.481" v="5724" actId="1076"/>
          <ac:spMkLst>
            <pc:docMk/>
            <pc:sldMk cId="887676063" sldId="307"/>
            <ac:spMk id="24" creationId="{486BA51A-C918-4843-9349-6B755DFE9234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25" creationId="{482ECCAB-7AFE-A745-B7F2-1A1B3ED137A6}"/>
          </ac:spMkLst>
        </pc:spChg>
        <pc:spChg chg="del mod">
          <ac:chgData name="Cai, Siyan" userId="c05b90bb-2bc8-44ab-ad43-2e6ade3411ba" providerId="ADAL" clId="{C54958F0-C461-B24E-AE79-787D70F5A7E5}" dt="2021-12-02T15:56:53.711" v="5534" actId="478"/>
          <ac:spMkLst>
            <pc:docMk/>
            <pc:sldMk cId="887676063" sldId="307"/>
            <ac:spMk id="26" creationId="{31364E7A-3B6D-4C4D-BBAE-C67AFEA472FF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28" creationId="{14A59C6E-C2FF-6A4A-90BB-7AEAD60E4E4E}"/>
          </ac:spMkLst>
        </pc:spChg>
        <pc:spChg chg="mod">
          <ac:chgData name="Cai, Siyan" userId="c05b90bb-2bc8-44ab-ad43-2e6ade3411ba" providerId="ADAL" clId="{C54958F0-C461-B24E-AE79-787D70F5A7E5}" dt="2021-12-02T15:59:59.078" v="5728" actId="14100"/>
          <ac:spMkLst>
            <pc:docMk/>
            <pc:sldMk cId="887676063" sldId="307"/>
            <ac:spMk id="29" creationId="{4D82D64F-2BA7-134B-98C9-D8D1A787E5E3}"/>
          </ac:spMkLst>
        </pc:spChg>
        <pc:spChg chg="mod">
          <ac:chgData name="Cai, Siyan" userId="c05b90bb-2bc8-44ab-ad43-2e6ade3411ba" providerId="ADAL" clId="{C54958F0-C461-B24E-AE79-787D70F5A7E5}" dt="2021-12-02T16:01:41.819" v="5903" actId="20577"/>
          <ac:spMkLst>
            <pc:docMk/>
            <pc:sldMk cId="887676063" sldId="307"/>
            <ac:spMk id="30" creationId="{83BAB9C2-8AB9-0C40-A084-8DD9C112C072}"/>
          </ac:spMkLst>
        </pc:spChg>
        <pc:spChg chg="mod">
          <ac:chgData name="Cai, Siyan" userId="c05b90bb-2bc8-44ab-ad43-2e6ade3411ba" providerId="ADAL" clId="{C54958F0-C461-B24E-AE79-787D70F5A7E5}" dt="2021-12-02T15:59:53.558" v="5726" actId="255"/>
          <ac:spMkLst>
            <pc:docMk/>
            <pc:sldMk cId="887676063" sldId="307"/>
            <ac:spMk id="31" creationId="{AFC8EE08-7764-6E49-BBAD-0A57E1EAD72E}"/>
          </ac:spMkLst>
        </pc:spChg>
        <pc:spChg chg="del mod">
          <ac:chgData name="Cai, Siyan" userId="c05b90bb-2bc8-44ab-ad43-2e6ade3411ba" providerId="ADAL" clId="{C54958F0-C461-B24E-AE79-787D70F5A7E5}" dt="2021-12-02T15:59:54.975" v="5727" actId="478"/>
          <ac:spMkLst>
            <pc:docMk/>
            <pc:sldMk cId="887676063" sldId="307"/>
            <ac:spMk id="32" creationId="{475EF207-9D70-FC43-B315-A888737EFAF2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33" creationId="{261875B4-EFEE-B949-BB71-22BF9B48C14E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34" creationId="{8978FFE6-C47C-D44C-9B0C-4B889CE9A42D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35" creationId="{35B56AEC-C5FB-0942-B147-273A35BD02F1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36" creationId="{01A37609-FB19-3C49-B4D2-22C13509CEBF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37" creationId="{BABDA057-2074-1C46-AD92-2F07F1599E94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38" creationId="{8D60879D-78B6-414A-8956-6718BCCF6A9B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39" creationId="{1E5B8E1A-04B4-0E43-81A6-CA7A09D20F75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40" creationId="{0C3E4926-F489-2A4C-B840-D4BA94D85B48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41" creationId="{44C9D2F3-6E50-8F45-B1D8-3C05C0F6E8A3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42" creationId="{4D8E03C9-2EE8-5946-8BE6-6C0D88D80183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43" creationId="{8541CAB9-A447-D642-8E76-415B88F5E143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44" creationId="{B74E9F43-F79C-434D-AE0D-7AD7D322D704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45" creationId="{DD4B9D07-63E7-3246-A4C5-051303725FDE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46" creationId="{D1F5DDF1-7AE4-CB4B-8867-18EE469E8CC7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47" creationId="{4FAF93D7-DBCC-0641-8D8D-47E89217424C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48" creationId="{0C9B0A30-D6A5-494F-8444-962EEB5C32B5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49" creationId="{0E89E677-E11D-2344-B4F4-B3B4A9240B4A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50" creationId="{C8AEB655-6419-4D4C-8BA5-534973E48930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51" creationId="{E06BE05F-E7D2-4141-A7E3-C3B76DB0DEFF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52" creationId="{0ED5509B-0DFE-4D48-9DB5-4A92265CB420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53" creationId="{67760891-D15A-3845-A98A-08294E5C70BB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54" creationId="{767EC754-5FD5-6A48-B9A9-AE6EB90BA6A0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55" creationId="{B280C790-2507-FD49-9DD6-7CAC10CBF2B3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56" creationId="{1AB7C43A-6859-234B-BD9B-6B45E3EF62BD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57" creationId="{EC6F8529-D1FD-3241-8D09-D4AC56369893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58" creationId="{C0DA6306-8978-EC42-A043-98F90191A925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59" creationId="{2B163DFB-8290-B640-B031-D45B1191E9A8}"/>
          </ac:spMkLst>
        </pc:spChg>
        <pc:spChg chg="mod">
          <ac:chgData name="Cai, Siyan" userId="c05b90bb-2bc8-44ab-ad43-2e6ade3411ba" providerId="ADAL" clId="{C54958F0-C461-B24E-AE79-787D70F5A7E5}" dt="2021-12-02T15:57:08.451" v="5536"/>
          <ac:spMkLst>
            <pc:docMk/>
            <pc:sldMk cId="887676063" sldId="307"/>
            <ac:spMk id="60" creationId="{0E595B9D-0AD5-D844-834A-FCFF73EA3499}"/>
          </ac:spMkLst>
        </pc:spChg>
        <pc:spChg chg="del mod">
          <ac:chgData name="Cai, Siyan" userId="c05b90bb-2bc8-44ab-ad43-2e6ade3411ba" providerId="ADAL" clId="{C54958F0-C461-B24E-AE79-787D70F5A7E5}" dt="2021-12-02T15:51:09.608" v="5026" actId="478"/>
          <ac:spMkLst>
            <pc:docMk/>
            <pc:sldMk cId="887676063" sldId="307"/>
            <ac:spMk id="61" creationId="{18E654F4-AE3B-4A4D-B79C-82DC6D60EFDB}"/>
          </ac:spMkLst>
        </pc:spChg>
        <pc:spChg chg="del mod">
          <ac:chgData name="Cai, Siyan" userId="c05b90bb-2bc8-44ab-ad43-2e6ade3411ba" providerId="ADAL" clId="{C54958F0-C461-B24E-AE79-787D70F5A7E5}" dt="2021-12-02T15:51:07.067" v="5025" actId="478"/>
          <ac:spMkLst>
            <pc:docMk/>
            <pc:sldMk cId="887676063" sldId="307"/>
            <ac:spMk id="62" creationId="{048DAF3D-4996-3D47-BC95-40366A18426F}"/>
          </ac:spMkLst>
        </pc:spChg>
        <pc:grpChg chg="add del mod">
          <ac:chgData name="Cai, Siyan" userId="c05b90bb-2bc8-44ab-ad43-2e6ade3411ba" providerId="ADAL" clId="{C54958F0-C461-B24E-AE79-787D70F5A7E5}" dt="2021-12-02T16:02:33.100" v="5904" actId="21"/>
          <ac:grpSpMkLst>
            <pc:docMk/>
            <pc:sldMk cId="887676063" sldId="307"/>
            <ac:grpSpMk id="6" creationId="{3CD83318-F89B-514D-8454-E0EDFFD37D53}"/>
          </ac:grpSpMkLst>
        </pc:grpChg>
        <pc:grpChg chg="del mod">
          <ac:chgData name="Cai, Siyan" userId="c05b90bb-2bc8-44ab-ad43-2e6ade3411ba" providerId="ADAL" clId="{C54958F0-C461-B24E-AE79-787D70F5A7E5}" dt="2021-12-02T15:51:07.067" v="5025" actId="478"/>
          <ac:grpSpMkLst>
            <pc:docMk/>
            <pc:sldMk cId="887676063" sldId="307"/>
            <ac:grpSpMk id="9" creationId="{7F5F74C2-0BB0-CF43-9381-1ABDE5AE4E6B}"/>
          </ac:grpSpMkLst>
        </pc:grpChg>
        <pc:grpChg chg="mod">
          <ac:chgData name="Cai, Siyan" userId="c05b90bb-2bc8-44ab-ad43-2e6ade3411ba" providerId="ADAL" clId="{C54958F0-C461-B24E-AE79-787D70F5A7E5}" dt="2021-12-02T15:57:08.451" v="5536"/>
          <ac:grpSpMkLst>
            <pc:docMk/>
            <pc:sldMk cId="887676063" sldId="307"/>
            <ac:grpSpMk id="10" creationId="{F0C022BC-8652-A540-9900-4A8A66BD73AF}"/>
          </ac:grpSpMkLst>
        </pc:grpChg>
        <pc:grpChg chg="mod">
          <ac:chgData name="Cai, Siyan" userId="c05b90bb-2bc8-44ab-ad43-2e6ade3411ba" providerId="ADAL" clId="{C54958F0-C461-B24E-AE79-787D70F5A7E5}" dt="2021-12-02T15:57:08.451" v="5536"/>
          <ac:grpSpMkLst>
            <pc:docMk/>
            <pc:sldMk cId="887676063" sldId="307"/>
            <ac:grpSpMk id="11" creationId="{9A2AC015-A640-244B-951D-A6FF55CD9715}"/>
          </ac:grpSpMkLst>
        </pc:grpChg>
        <pc:grpChg chg="mod">
          <ac:chgData name="Cai, Siyan" userId="c05b90bb-2bc8-44ab-ad43-2e6ade3411ba" providerId="ADAL" clId="{C54958F0-C461-B24E-AE79-787D70F5A7E5}" dt="2021-12-02T15:57:08.451" v="5536"/>
          <ac:grpSpMkLst>
            <pc:docMk/>
            <pc:sldMk cId="887676063" sldId="307"/>
            <ac:grpSpMk id="12" creationId="{83CFE28E-F3D0-314C-8CCB-CEEBFB6F35D9}"/>
          </ac:grpSpMkLst>
        </pc:grpChg>
        <pc:grpChg chg="mod">
          <ac:chgData name="Cai, Siyan" userId="c05b90bb-2bc8-44ab-ad43-2e6ade3411ba" providerId="ADAL" clId="{C54958F0-C461-B24E-AE79-787D70F5A7E5}" dt="2021-12-02T15:57:08.451" v="5536"/>
          <ac:grpSpMkLst>
            <pc:docMk/>
            <pc:sldMk cId="887676063" sldId="307"/>
            <ac:grpSpMk id="13" creationId="{F68D5E53-DF6E-D340-80C9-89B5C5016CD1}"/>
          </ac:grpSpMkLst>
        </pc:grpChg>
        <pc:grpChg chg="mod">
          <ac:chgData name="Cai, Siyan" userId="c05b90bb-2bc8-44ab-ad43-2e6ade3411ba" providerId="ADAL" clId="{C54958F0-C461-B24E-AE79-787D70F5A7E5}" dt="2021-12-02T15:57:08.451" v="5536"/>
          <ac:grpSpMkLst>
            <pc:docMk/>
            <pc:sldMk cId="887676063" sldId="307"/>
            <ac:grpSpMk id="14" creationId="{3FEBA2BD-A67F-4B49-A879-95C6886B5352}"/>
          </ac:grpSpMkLst>
        </pc:grpChg>
        <pc:grpChg chg="mod">
          <ac:chgData name="Cai, Siyan" userId="c05b90bb-2bc8-44ab-ad43-2e6ade3411ba" providerId="ADAL" clId="{C54958F0-C461-B24E-AE79-787D70F5A7E5}" dt="2021-12-02T15:57:08.451" v="5536"/>
          <ac:grpSpMkLst>
            <pc:docMk/>
            <pc:sldMk cId="887676063" sldId="307"/>
            <ac:grpSpMk id="15" creationId="{94132FC0-1D56-0043-9FD1-3363781BB269}"/>
          </ac:grpSpMkLst>
        </pc:grpChg>
        <pc:grpChg chg="mod">
          <ac:chgData name="Cai, Siyan" userId="c05b90bb-2bc8-44ab-ad43-2e6ade3411ba" providerId="ADAL" clId="{C54958F0-C461-B24E-AE79-787D70F5A7E5}" dt="2021-12-02T15:57:08.451" v="5536"/>
          <ac:grpSpMkLst>
            <pc:docMk/>
            <pc:sldMk cId="887676063" sldId="307"/>
            <ac:grpSpMk id="21" creationId="{3A9AE05D-A869-6F4C-B63E-05B646E5F680}"/>
          </ac:grpSpMkLst>
        </pc:grpChg>
        <pc:grpChg chg="mod">
          <ac:chgData name="Cai, Siyan" userId="c05b90bb-2bc8-44ab-ad43-2e6ade3411ba" providerId="ADAL" clId="{C54958F0-C461-B24E-AE79-787D70F5A7E5}" dt="2021-12-02T15:57:08.451" v="5536"/>
          <ac:grpSpMkLst>
            <pc:docMk/>
            <pc:sldMk cId="887676063" sldId="307"/>
            <ac:grpSpMk id="27" creationId="{942D47D5-1C05-D341-9E4F-F2C2FB907161}"/>
          </ac:grpSpMkLst>
        </pc:grpChg>
      </pc:sldChg>
      <pc:sldChg chg="addSp delSp modSp add del mod">
        <pc:chgData name="Cai, Siyan" userId="c05b90bb-2bc8-44ab-ad43-2e6ade3411ba" providerId="ADAL" clId="{C54958F0-C461-B24E-AE79-787D70F5A7E5}" dt="2021-12-02T15:50:58.281" v="5023" actId="2696"/>
        <pc:sldMkLst>
          <pc:docMk/>
          <pc:sldMk cId="939365533" sldId="308"/>
        </pc:sldMkLst>
        <pc:spChg chg="del">
          <ac:chgData name="Cai, Siyan" userId="c05b90bb-2bc8-44ab-ad43-2e6ade3411ba" providerId="ADAL" clId="{C54958F0-C461-B24E-AE79-787D70F5A7E5}" dt="2021-12-02T15:50:32.506" v="5014"/>
          <ac:spMkLst>
            <pc:docMk/>
            <pc:sldMk cId="939365533" sldId="308"/>
            <ac:spMk id="2" creationId="{327B479D-4944-7549-85E2-E5EFF4E0EBA2}"/>
          </ac:spMkLst>
        </pc:spChg>
        <pc:spChg chg="mod">
          <ac:chgData name="Cai, Siyan" userId="c05b90bb-2bc8-44ab-ad43-2e6ade3411ba" providerId="ADAL" clId="{C54958F0-C461-B24E-AE79-787D70F5A7E5}" dt="2021-12-02T15:50:32.506" v="5014"/>
          <ac:spMkLst>
            <pc:docMk/>
            <pc:sldMk cId="939365533" sldId="308"/>
            <ac:spMk id="3" creationId="{C5B0641F-9155-DA4E-9C94-3B03CB04EBD0}"/>
          </ac:spMkLst>
        </pc:spChg>
        <pc:spChg chg="mod">
          <ac:chgData name="Cai, Siyan" userId="c05b90bb-2bc8-44ab-ad43-2e6ade3411ba" providerId="ADAL" clId="{C54958F0-C461-B24E-AE79-787D70F5A7E5}" dt="2021-12-02T15:50:32.506" v="5014"/>
          <ac:spMkLst>
            <pc:docMk/>
            <pc:sldMk cId="939365533" sldId="308"/>
            <ac:spMk id="4" creationId="{91796705-3228-254B-BCB8-A81C1A3AAEE5}"/>
          </ac:spMkLst>
        </pc:spChg>
        <pc:spChg chg="add mod">
          <ac:chgData name="Cai, Siyan" userId="c05b90bb-2bc8-44ab-ad43-2e6ade3411ba" providerId="ADAL" clId="{C54958F0-C461-B24E-AE79-787D70F5A7E5}" dt="2021-12-02T15:50:32.506" v="5014"/>
          <ac:spMkLst>
            <pc:docMk/>
            <pc:sldMk cId="939365533" sldId="308"/>
            <ac:spMk id="5" creationId="{32AE024E-F382-504A-ACB9-7AF52E007C95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11" creationId="{9AD0A81A-5CBE-C548-B969-497331402A72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12" creationId="{28ED609C-0EA9-7A46-9ED9-08F75857F0C0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13" creationId="{E51BAFA7-8A9B-7142-8700-57084A29303A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14" creationId="{1C7A99F2-A85E-0B4F-ACE6-8743007A1A8A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15" creationId="{A3DC4F54-45DF-594F-A7B2-C6A30A99EF47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16" creationId="{9F354DA4-5785-D446-9DFB-6EF2C5EDD158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17" creationId="{A20DADB1-3291-9D44-9FC6-13D9113048C4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18" creationId="{0A9D9C44-F27E-1641-9ACE-8E9034A9468E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19" creationId="{587F5A54-3BAE-F148-B809-FEFC6C6E786F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20" creationId="{C2F636FD-04BB-094C-B0EE-319065E35429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21" creationId="{3B57F611-290C-334E-8E9F-96D28EC2A3EE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22" creationId="{ADD95DF2-B52E-194F-A129-84E86EE6165A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23" creationId="{72570B22-6517-C441-B07A-447D92D18E65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24" creationId="{69D0C701-09B7-E64B-AA84-D85785B2AE11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25" creationId="{600226AE-DA44-174B-92E4-9FC2082ADAD5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26" creationId="{83D23EBE-3FB5-0340-BF20-6BEEAA660D37}"/>
          </ac:spMkLst>
        </pc:spChg>
        <pc:spChg chg="mod">
          <ac:chgData name="Cai, Siyan" userId="c05b90bb-2bc8-44ab-ad43-2e6ade3411ba" providerId="ADAL" clId="{C54958F0-C461-B24E-AE79-787D70F5A7E5}" dt="2021-12-02T15:50:32.669" v="5021"/>
          <ac:spMkLst>
            <pc:docMk/>
            <pc:sldMk cId="939365533" sldId="308"/>
            <ac:spMk id="27" creationId="{B13CC419-F069-8946-BB14-B05C4167AB80}"/>
          </ac:spMkLst>
        </pc:spChg>
        <pc:grpChg chg="add mod">
          <ac:chgData name="Cai, Siyan" userId="c05b90bb-2bc8-44ab-ad43-2e6ade3411ba" providerId="ADAL" clId="{C54958F0-C461-B24E-AE79-787D70F5A7E5}" dt="2021-12-02T15:50:32.669" v="5021"/>
          <ac:grpSpMkLst>
            <pc:docMk/>
            <pc:sldMk cId="939365533" sldId="308"/>
            <ac:grpSpMk id="6" creationId="{05050221-32A3-4642-97DC-AC60B2762795}"/>
          </ac:grpSpMkLst>
        </pc:grpChg>
        <pc:grpChg chg="mod">
          <ac:chgData name="Cai, Siyan" userId="c05b90bb-2bc8-44ab-ad43-2e6ade3411ba" providerId="ADAL" clId="{C54958F0-C461-B24E-AE79-787D70F5A7E5}" dt="2021-12-02T15:50:32.669" v="5021"/>
          <ac:grpSpMkLst>
            <pc:docMk/>
            <pc:sldMk cId="939365533" sldId="308"/>
            <ac:grpSpMk id="7" creationId="{86DBDB67-3FC7-1241-889A-A9F3E35A6291}"/>
          </ac:grpSpMkLst>
        </pc:grpChg>
        <pc:grpChg chg="mod">
          <ac:chgData name="Cai, Siyan" userId="c05b90bb-2bc8-44ab-ad43-2e6ade3411ba" providerId="ADAL" clId="{C54958F0-C461-B24E-AE79-787D70F5A7E5}" dt="2021-12-02T15:50:32.669" v="5021"/>
          <ac:grpSpMkLst>
            <pc:docMk/>
            <pc:sldMk cId="939365533" sldId="308"/>
            <ac:grpSpMk id="8" creationId="{C5F4C3CB-500A-C04F-B804-62E6C5DD5CBB}"/>
          </ac:grpSpMkLst>
        </pc:grpChg>
        <pc:grpChg chg="mod">
          <ac:chgData name="Cai, Siyan" userId="c05b90bb-2bc8-44ab-ad43-2e6ade3411ba" providerId="ADAL" clId="{C54958F0-C461-B24E-AE79-787D70F5A7E5}" dt="2021-12-02T15:50:32.669" v="5021"/>
          <ac:grpSpMkLst>
            <pc:docMk/>
            <pc:sldMk cId="939365533" sldId="308"/>
            <ac:grpSpMk id="9" creationId="{E8462F60-2ACC-B044-8E21-BCE494193D25}"/>
          </ac:grpSpMkLst>
        </pc:grpChg>
        <pc:grpChg chg="mod">
          <ac:chgData name="Cai, Siyan" userId="c05b90bb-2bc8-44ab-ad43-2e6ade3411ba" providerId="ADAL" clId="{C54958F0-C461-B24E-AE79-787D70F5A7E5}" dt="2021-12-02T15:50:32.669" v="5021"/>
          <ac:grpSpMkLst>
            <pc:docMk/>
            <pc:sldMk cId="939365533" sldId="308"/>
            <ac:grpSpMk id="10" creationId="{F0DD8785-3023-A94C-A109-596AD58EA71E}"/>
          </ac:grpSpMkLst>
        </pc:grpChg>
      </pc:sldChg>
    </pc:docChg>
  </pc:docChgLst>
  <pc:docChgLst>
    <pc:chgData name="Li, Shichen" userId="S::sli828@gatech.edu::f8d241da-5e1e-4af5-b9c4-65f6abb63622" providerId="AD" clId="Web-{9E9956F6-7255-476F-98A8-D8C14AEEB1E8}"/>
    <pc:docChg chg="addSld modSld sldOrd">
      <pc:chgData name="Li, Shichen" userId="S::sli828@gatech.edu::f8d241da-5e1e-4af5-b9c4-65f6abb63622" providerId="AD" clId="Web-{9E9956F6-7255-476F-98A8-D8C14AEEB1E8}" dt="2021-12-02T05:47:07.966" v="525" actId="20577"/>
      <pc:docMkLst>
        <pc:docMk/>
      </pc:docMkLst>
      <pc:sldChg chg="ord">
        <pc:chgData name="Li, Shichen" userId="S::sli828@gatech.edu::f8d241da-5e1e-4af5-b9c4-65f6abb63622" providerId="AD" clId="Web-{9E9956F6-7255-476F-98A8-D8C14AEEB1E8}" dt="2021-12-02T04:23:59.484" v="1"/>
        <pc:sldMkLst>
          <pc:docMk/>
          <pc:sldMk cId="3542718566" sldId="296"/>
        </pc:sldMkLst>
      </pc:sldChg>
      <pc:sldChg chg="modSp new">
        <pc:chgData name="Li, Shichen" userId="S::sli828@gatech.edu::f8d241da-5e1e-4af5-b9c4-65f6abb63622" providerId="AD" clId="Web-{9E9956F6-7255-476F-98A8-D8C14AEEB1E8}" dt="2021-12-02T05:47:07.966" v="525" actId="20577"/>
        <pc:sldMkLst>
          <pc:docMk/>
          <pc:sldMk cId="1096136804" sldId="304"/>
        </pc:sldMkLst>
        <pc:spChg chg="mod">
          <ac:chgData name="Li, Shichen" userId="S::sli828@gatech.edu::f8d241da-5e1e-4af5-b9c4-65f6abb63622" providerId="AD" clId="Web-{9E9956F6-7255-476F-98A8-D8C14AEEB1E8}" dt="2021-12-02T04:26:36.441" v="72" actId="20577"/>
          <ac:spMkLst>
            <pc:docMk/>
            <pc:sldMk cId="1096136804" sldId="304"/>
            <ac:spMk id="4" creationId="{8276864C-CD4B-434F-8A5D-9F5EA4C08E08}"/>
          </ac:spMkLst>
        </pc:spChg>
        <pc:spChg chg="mod">
          <ac:chgData name="Li, Shichen" userId="S::sli828@gatech.edu::f8d241da-5e1e-4af5-b9c4-65f6abb63622" providerId="AD" clId="Web-{9E9956F6-7255-476F-98A8-D8C14AEEB1E8}" dt="2021-12-02T05:47:07.966" v="525" actId="20577"/>
          <ac:spMkLst>
            <pc:docMk/>
            <pc:sldMk cId="1096136804" sldId="304"/>
            <ac:spMk id="5" creationId="{5CB01B41-B62D-485B-9015-C05BCFE1DCFD}"/>
          </ac:spMkLst>
        </pc:spChg>
      </pc:sldChg>
    </pc:docChg>
  </pc:docChgLst>
  <pc:docChgLst>
    <pc:chgData name="Li, Shichen" userId="S::sli828@gatech.edu::f8d241da-5e1e-4af5-b9c4-65f6abb63622" providerId="AD" clId="Web-{992D1C8F-923C-4DCC-A658-E6954E2D5B2D}"/>
    <pc:docChg chg="modSld">
      <pc:chgData name="Li, Shichen" userId="S::sli828@gatech.edu::f8d241da-5e1e-4af5-b9c4-65f6abb63622" providerId="AD" clId="Web-{992D1C8F-923C-4DCC-A658-E6954E2D5B2D}" dt="2021-12-02T16:13:22.307" v="369"/>
      <pc:docMkLst>
        <pc:docMk/>
      </pc:docMkLst>
      <pc:sldChg chg="modSp">
        <pc:chgData name="Li, Shichen" userId="S::sli828@gatech.edu::f8d241da-5e1e-4af5-b9c4-65f6abb63622" providerId="AD" clId="Web-{992D1C8F-923C-4DCC-A658-E6954E2D5B2D}" dt="2021-12-02T16:13:22.307" v="369"/>
        <pc:sldMkLst>
          <pc:docMk/>
          <pc:sldMk cId="1562830815" sldId="299"/>
        </pc:sldMkLst>
        <pc:graphicFrameChg chg="mod modGraphic">
          <ac:chgData name="Li, Shichen" userId="S::sli828@gatech.edu::f8d241da-5e1e-4af5-b9c4-65f6abb63622" providerId="AD" clId="Web-{992D1C8F-923C-4DCC-A658-E6954E2D5B2D}" dt="2021-12-02T16:13:22.307" v="369"/>
          <ac:graphicFrameMkLst>
            <pc:docMk/>
            <pc:sldMk cId="1562830815" sldId="299"/>
            <ac:graphicFrameMk id="7" creationId="{E40763BD-338B-42BE-B1ED-0593C6FEF771}"/>
          </ac:graphicFrameMkLst>
        </pc:graphicFrameChg>
      </pc:sldChg>
      <pc:sldChg chg="modSp">
        <pc:chgData name="Li, Shichen" userId="S::sli828@gatech.edu::f8d241da-5e1e-4af5-b9c4-65f6abb63622" providerId="AD" clId="Web-{992D1C8F-923C-4DCC-A658-E6954E2D5B2D}" dt="2021-12-02T15:48:18.353" v="312" actId="14100"/>
        <pc:sldMkLst>
          <pc:docMk/>
          <pc:sldMk cId="2992417359" sldId="305"/>
        </pc:sldMkLst>
        <pc:spChg chg="mod">
          <ac:chgData name="Li, Shichen" userId="S::sli828@gatech.edu::f8d241da-5e1e-4af5-b9c4-65f6abb63622" providerId="AD" clId="Web-{992D1C8F-923C-4DCC-A658-E6954E2D5B2D}" dt="2021-12-02T15:48:18.353" v="312" actId="14100"/>
          <ac:spMkLst>
            <pc:docMk/>
            <pc:sldMk cId="2992417359" sldId="305"/>
            <ac:spMk id="5" creationId="{BB196C0C-7429-CD47-A4EF-4A336D01C661}"/>
          </ac:spMkLst>
        </pc:spChg>
      </pc:sldChg>
    </pc:docChg>
  </pc:docChgLst>
  <pc:docChgLst>
    <pc:chgData name="Yu, Tongzhou" userId="S::tyu310@gatech.edu::7115ca41-421d-4421-a440-d8db818513c7" providerId="AD" clId="Web-{6FAE47C0-3E0F-4EFE-AA0A-CA87F4C6043D}"/>
    <pc:docChg chg="modSld">
      <pc:chgData name="Yu, Tongzhou" userId="S::tyu310@gatech.edu::7115ca41-421d-4421-a440-d8db818513c7" providerId="AD" clId="Web-{6FAE47C0-3E0F-4EFE-AA0A-CA87F4C6043D}" dt="2021-12-02T02:47:00.790" v="167"/>
      <pc:docMkLst>
        <pc:docMk/>
      </pc:docMkLst>
      <pc:sldChg chg="modSp">
        <pc:chgData name="Yu, Tongzhou" userId="S::tyu310@gatech.edu::7115ca41-421d-4421-a440-d8db818513c7" providerId="AD" clId="Web-{6FAE47C0-3E0F-4EFE-AA0A-CA87F4C6043D}" dt="2021-12-02T02:47:00.790" v="167"/>
        <pc:sldMkLst>
          <pc:docMk/>
          <pc:sldMk cId="2062797621" sldId="292"/>
        </pc:sldMkLst>
        <pc:graphicFrameChg chg="mod modGraphic">
          <ac:chgData name="Yu, Tongzhou" userId="S::tyu310@gatech.edu::7115ca41-421d-4421-a440-d8db818513c7" providerId="AD" clId="Web-{6FAE47C0-3E0F-4EFE-AA0A-CA87F4C6043D}" dt="2021-12-02T02:47:00.790" v="167"/>
          <ac:graphicFrameMkLst>
            <pc:docMk/>
            <pc:sldMk cId="2062797621" sldId="292"/>
            <ac:graphicFrameMk id="7" creationId="{A6625AB5-8AD4-4EF7-81BF-428CCF9B410B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cherylcai\Desktop\8803%20pertubat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600" b="1"/>
              <a:t>Feature</a:t>
            </a:r>
            <a:r>
              <a:rPr lang="zh-CN" altLang="en-US" sz="1600" b="1" baseline="0"/>
              <a:t> </a:t>
            </a:r>
            <a:r>
              <a:rPr lang="en-US" altLang="zh-CN" sz="1600" b="1" baseline="0"/>
              <a:t>Importance</a:t>
            </a:r>
            <a:r>
              <a:rPr lang="zh-CN" altLang="en-US" sz="1600" b="1" baseline="0"/>
              <a:t> </a:t>
            </a:r>
            <a:r>
              <a:rPr lang="en-US" altLang="zh-CN" sz="1600" b="1" baseline="0"/>
              <a:t>-</a:t>
            </a:r>
            <a:r>
              <a:rPr lang="zh-CN" altLang="en-US" sz="1600" b="1" baseline="0"/>
              <a:t> </a:t>
            </a:r>
            <a:r>
              <a:rPr lang="en-US" sz="1600" b="1"/>
              <a:t>Perturbation Effec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turbation Effec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Confirmed</c:v>
                </c:pt>
                <c:pt idx="1">
                  <c:v>Death</c:v>
                </c:pt>
                <c:pt idx="2">
                  <c:v>% of Positive Tweets</c:v>
                </c:pt>
                <c:pt idx="3">
                  <c:v>% of Negative Tweets</c:v>
                </c:pt>
                <c:pt idx="4">
                  <c:v>% Fear Keyword</c:v>
                </c:pt>
                <c:pt idx="5">
                  <c:v>% Stay Keyword</c:v>
                </c:pt>
                <c:pt idx="6">
                  <c:v>% Mask Keyword</c:v>
                </c:pt>
                <c:pt idx="7">
                  <c:v>Google Search Ageusia</c:v>
                </c:pt>
                <c:pt idx="8">
                  <c:v>Google Search Ansomia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.9E-2</c:v>
                </c:pt>
                <c:pt idx="1">
                  <c:v>2.24E-2</c:v>
                </c:pt>
                <c:pt idx="2">
                  <c:v>5.9999999999999995E-4</c:v>
                </c:pt>
                <c:pt idx="3">
                  <c:v>5.0000000000000001E-4</c:v>
                </c:pt>
                <c:pt idx="4">
                  <c:v>5.9999999999999995E-4</c:v>
                </c:pt>
                <c:pt idx="5">
                  <c:v>5.9999999999999995E-4</c:v>
                </c:pt>
                <c:pt idx="6">
                  <c:v>2.9999999999999997E-4</c:v>
                </c:pt>
                <c:pt idx="7">
                  <c:v>2.5999999999999999E-3</c:v>
                </c:pt>
                <c:pt idx="8">
                  <c:v>4.700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4A-6942-B158-490D2E0C6C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159268559"/>
        <c:axId val="1159184415"/>
      </c:barChart>
      <c:catAx>
        <c:axId val="11592685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9184415"/>
        <c:crosses val="autoZero"/>
        <c:auto val="1"/>
        <c:lblAlgn val="ctr"/>
        <c:lblOffset val="100"/>
        <c:noMultiLvlLbl val="0"/>
      </c:catAx>
      <c:valAx>
        <c:axId val="11591844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9268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12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12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CFFB6EBD-1AE3-468D-9094-48FF67796E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85899" y="856205"/>
            <a:ext cx="9907815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85900" y="2133600"/>
            <a:ext cx="5480958" cy="3133863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85900" y="5470189"/>
            <a:ext cx="548095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485900" y="5766460"/>
            <a:ext cx="548095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099584" y="1782913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100700" y="2678264"/>
            <a:ext cx="5419185" cy="605594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D3C79C3A-9FF4-4F19-B263-8BE69CDB8EA6}"/>
              </a:ext>
            </a:extLst>
          </p:cNvPr>
          <p:cNvSpPr/>
          <p:nvPr userDrawn="1"/>
        </p:nvSpPr>
        <p:spPr>
          <a:xfrm>
            <a:off x="0" y="3429000"/>
            <a:ext cx="12192000" cy="3428999"/>
          </a:xfrm>
          <a:prstGeom prst="rect">
            <a:avLst/>
          </a:prstGeom>
          <a:blipFill>
            <a:blip r:embed="rId2"/>
            <a:srcRect/>
            <a:stretch>
              <a:fillRect t="-23455" b="-8406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974D6B9C-48D3-440E-A118-155CCFB167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96950" y="2209120"/>
            <a:ext cx="7063014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96950" y="4515356"/>
            <a:ext cx="706301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96952" y="4219085"/>
            <a:ext cx="706301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elphi.cmu.edu/covidcast/export/?sensor=fb-survey-smoothed_wcovid_vaccinated_appointment_or_accept" TargetMode="External"/><Relationship Id="rId2" Type="http://schemas.openxmlformats.org/officeDocument/2006/relationships/hyperlink" Target="https://github.com/CSSEGISandData/COVID-19/tree/master/csse_covid_19_data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353552" y="5027909"/>
            <a:ext cx="5480958" cy="296271"/>
          </a:xfrm>
        </p:spPr>
        <p:txBody>
          <a:bodyPr/>
          <a:lstStyle/>
          <a:p>
            <a:r>
              <a:rPr lang="en-US" altLang="zh-CN" err="1">
                <a:solidFill>
                  <a:schemeClr val="bg1">
                    <a:alpha val="60000"/>
                  </a:schemeClr>
                </a:solidFill>
              </a:rPr>
              <a:t>Tongzhou</a:t>
            </a:r>
            <a:r>
              <a:rPr lang="zh-CN" altLang="en-US">
                <a:solidFill>
                  <a:schemeClr val="bg1">
                    <a:alpha val="60000"/>
                  </a:schemeClr>
                </a:solidFill>
              </a:rPr>
              <a:t> </a:t>
            </a:r>
            <a:r>
              <a:rPr lang="en-US" altLang="zh-CN">
                <a:solidFill>
                  <a:schemeClr val="bg1">
                    <a:alpha val="60000"/>
                  </a:schemeClr>
                </a:solidFill>
              </a:rPr>
              <a:t>Yu,</a:t>
            </a:r>
            <a:r>
              <a:rPr lang="zh-CN" altLang="en-US">
                <a:solidFill>
                  <a:schemeClr val="bg1">
                    <a:alpha val="60000"/>
                  </a:schemeClr>
                </a:solidFill>
              </a:rPr>
              <a:t> </a:t>
            </a:r>
            <a:r>
              <a:rPr lang="en-US" altLang="zh-CN">
                <a:solidFill>
                  <a:schemeClr val="bg1">
                    <a:alpha val="60000"/>
                  </a:schemeClr>
                </a:solidFill>
              </a:rPr>
              <a:t>Siyan</a:t>
            </a:r>
            <a:r>
              <a:rPr lang="zh-CN" altLang="en-US">
                <a:solidFill>
                  <a:schemeClr val="bg1">
                    <a:alpha val="60000"/>
                  </a:schemeClr>
                </a:solidFill>
              </a:rPr>
              <a:t> </a:t>
            </a:r>
            <a:r>
              <a:rPr lang="en-US" altLang="zh-CN">
                <a:solidFill>
                  <a:schemeClr val="bg1">
                    <a:alpha val="60000"/>
                  </a:schemeClr>
                </a:solidFill>
              </a:rPr>
              <a:t>Cai,</a:t>
            </a:r>
            <a:r>
              <a:rPr lang="zh-CN" altLang="en-US">
                <a:solidFill>
                  <a:schemeClr val="bg1">
                    <a:alpha val="60000"/>
                  </a:schemeClr>
                </a:solidFill>
              </a:rPr>
              <a:t> </a:t>
            </a:r>
            <a:r>
              <a:rPr lang="en-US" altLang="zh-CN" err="1">
                <a:solidFill>
                  <a:schemeClr val="bg1">
                    <a:alpha val="60000"/>
                  </a:schemeClr>
                </a:solidFill>
              </a:rPr>
              <a:t>Shichen</a:t>
            </a:r>
            <a:r>
              <a:rPr lang="zh-CN" altLang="en-US">
                <a:solidFill>
                  <a:schemeClr val="bg1">
                    <a:alpha val="60000"/>
                  </a:schemeClr>
                </a:solidFill>
              </a:rPr>
              <a:t> </a:t>
            </a:r>
            <a:r>
              <a:rPr lang="en-US" altLang="zh-CN">
                <a:solidFill>
                  <a:schemeClr val="bg1">
                    <a:alpha val="60000"/>
                  </a:schemeClr>
                </a:solidFill>
              </a:rPr>
              <a:t>Li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1353552" y="5324180"/>
            <a:ext cx="5480958" cy="296271"/>
          </a:xfrm>
        </p:spPr>
        <p:txBody>
          <a:bodyPr/>
          <a:lstStyle/>
          <a:p>
            <a:r>
              <a:rPr lang="en-US" altLang="zh-CN">
                <a:solidFill>
                  <a:schemeClr val="bg1">
                    <a:alpha val="60000"/>
                  </a:schemeClr>
                </a:solidFill>
              </a:rPr>
              <a:t>2021/12/02</a:t>
            </a:r>
            <a:endParaRPr lang="en-US" altLang="en-US">
              <a:solidFill>
                <a:schemeClr val="bg1">
                  <a:alpha val="60000"/>
                </a:schemeClr>
              </a:solidFill>
            </a:endParaRPr>
          </a:p>
        </p:txBody>
      </p:sp>
      <p:sp>
        <p:nvSpPr>
          <p:cNvPr id="8" name="标题 3">
            <a:extLst>
              <a:ext uri="{FF2B5EF4-FFF2-40B4-BE49-F238E27FC236}">
                <a16:creationId xmlns:a16="http://schemas.microsoft.com/office/drawing/2014/main" id="{1F7690E5-C4A4-4611-AB6A-3BDC39B92CB8}"/>
              </a:ext>
            </a:extLst>
          </p:cNvPr>
          <p:cNvSpPr txBox="1">
            <a:spLocks/>
          </p:cNvSpPr>
          <p:nvPr/>
        </p:nvSpPr>
        <p:spPr>
          <a:xfrm>
            <a:off x="3135085" y="1045028"/>
            <a:ext cx="7344229" cy="352696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sz="9600"/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819F42B6-739D-4375-8280-742140F58D82}"/>
              </a:ext>
            </a:extLst>
          </p:cNvPr>
          <p:cNvCxnSpPr>
            <a:cxnSpLocks/>
          </p:cNvCxnSpPr>
          <p:nvPr/>
        </p:nvCxnSpPr>
        <p:spPr>
          <a:xfrm>
            <a:off x="2670725" y="5472315"/>
            <a:ext cx="3378200" cy="0"/>
          </a:xfrm>
          <a:prstGeom prst="line">
            <a:avLst/>
          </a:prstGeom>
          <a:ln>
            <a:gradFill>
              <a:gsLst>
                <a:gs pos="30000">
                  <a:schemeClr val="bg1">
                    <a:alpha val="60000"/>
                  </a:schemeClr>
                </a:gs>
                <a:gs pos="68000">
                  <a:schemeClr val="bg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A8C18EE4-81B9-4DDC-BD91-AA75794F64A1}"/>
              </a:ext>
            </a:extLst>
          </p:cNvPr>
          <p:cNvGrpSpPr/>
          <p:nvPr/>
        </p:nvGrpSpPr>
        <p:grpSpPr>
          <a:xfrm>
            <a:off x="1485424" y="1279306"/>
            <a:ext cx="2608607" cy="456268"/>
            <a:chOff x="1664776" y="1829128"/>
            <a:chExt cx="2608607" cy="456268"/>
          </a:xfrm>
        </p:grpSpPr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FF5E479C-3C88-4640-B4F4-3203F0992116}"/>
                </a:ext>
              </a:extLst>
            </p:cNvPr>
            <p:cNvSpPr/>
            <p:nvPr/>
          </p:nvSpPr>
          <p:spPr>
            <a:xfrm>
              <a:off x="1837419" y="1829128"/>
              <a:ext cx="2263320" cy="4562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80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SE-EPI</a:t>
              </a:r>
              <a:r>
                <a:rPr lang="zh-CN" altLang="en-US" sz="280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zh-CN" sz="280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8803</a:t>
              </a:r>
              <a:endParaRPr lang="zh-CN" altLang="en-US" sz="28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7AA452EF-4C19-4F93-917A-4BE87A73395D}"/>
                </a:ext>
              </a:extLst>
            </p:cNvPr>
            <p:cNvSpPr/>
            <p:nvPr/>
          </p:nvSpPr>
          <p:spPr>
            <a:xfrm>
              <a:off x="1664776" y="1829128"/>
              <a:ext cx="2608607" cy="456268"/>
            </a:xfrm>
            <a:custGeom>
              <a:avLst/>
              <a:gdLst>
                <a:gd name="connsiteX0" fmla="*/ 2511542 w 2608607"/>
                <a:gd name="connsiteY0" fmla="*/ 0 h 456268"/>
                <a:gd name="connsiteX1" fmla="*/ 2608607 w 2608607"/>
                <a:gd name="connsiteY1" fmla="*/ 0 h 456268"/>
                <a:gd name="connsiteX2" fmla="*/ 2608607 w 2608607"/>
                <a:gd name="connsiteY2" fmla="*/ 456268 h 456268"/>
                <a:gd name="connsiteX3" fmla="*/ 2511542 w 2608607"/>
                <a:gd name="connsiteY3" fmla="*/ 456268 h 456268"/>
                <a:gd name="connsiteX4" fmla="*/ 0 w 2608607"/>
                <a:gd name="connsiteY4" fmla="*/ 0 h 456268"/>
                <a:gd name="connsiteX5" fmla="*/ 97065 w 2608607"/>
                <a:gd name="connsiteY5" fmla="*/ 0 h 456268"/>
                <a:gd name="connsiteX6" fmla="*/ 97065 w 2608607"/>
                <a:gd name="connsiteY6" fmla="*/ 456268 h 456268"/>
                <a:gd name="connsiteX7" fmla="*/ 0 w 2608607"/>
                <a:gd name="connsiteY7" fmla="*/ 456268 h 45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08607" h="456268">
                  <a:moveTo>
                    <a:pt x="2511542" y="0"/>
                  </a:moveTo>
                  <a:lnTo>
                    <a:pt x="2608607" y="0"/>
                  </a:lnTo>
                  <a:lnTo>
                    <a:pt x="2608607" y="456268"/>
                  </a:lnTo>
                  <a:lnTo>
                    <a:pt x="2511542" y="456268"/>
                  </a:lnTo>
                  <a:close/>
                  <a:moveTo>
                    <a:pt x="0" y="0"/>
                  </a:moveTo>
                  <a:lnTo>
                    <a:pt x="97065" y="0"/>
                  </a:lnTo>
                  <a:lnTo>
                    <a:pt x="97065" y="456268"/>
                  </a:lnTo>
                  <a:lnTo>
                    <a:pt x="0" y="456268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sz="3600">
                <a:solidFill>
                  <a:srgbClr val="000F1A"/>
                </a:solidFill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D1E43B4-3297-074F-BB57-5A63046DF4AF}"/>
              </a:ext>
            </a:extLst>
          </p:cNvPr>
          <p:cNvSpPr txBox="1"/>
          <p:nvPr/>
        </p:nvSpPr>
        <p:spPr>
          <a:xfrm>
            <a:off x="1353552" y="1901101"/>
            <a:ext cx="718886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veraging</a:t>
            </a:r>
            <a:r>
              <a:rPr lang="zh-CN" altLang="en-US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zh-CN" sz="320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altLang="zh-CN" sz="4800" b="1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Internet</a:t>
            </a:r>
            <a:r>
              <a:rPr lang="zh-CN" altLang="en-US" sz="4800" b="1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4800" b="1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Data</a:t>
            </a:r>
            <a:r>
              <a:rPr lang="zh-CN" altLang="en-US" sz="4800" b="1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zh-CN" altLang="en-US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zh-CN" sz="320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altLang="zh-CN" sz="4800" b="1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Deep</a:t>
            </a:r>
            <a:r>
              <a:rPr lang="zh-CN" altLang="en-US" sz="4800" b="1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4800" b="1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Learning</a:t>
            </a:r>
            <a:r>
              <a:rPr lang="zh-CN" altLang="en-US" sz="4800" b="1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4800" b="1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Method</a:t>
            </a:r>
            <a:r>
              <a:rPr lang="zh-CN" altLang="en-US" sz="4800" b="1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zh-CN" sz="4800" b="1">
              <a:gradFill flip="none" rotWithShape="1">
                <a:gsLst>
                  <a:gs pos="0">
                    <a:schemeClr val="accent2">
                      <a:lumMod val="20000"/>
                      <a:lumOff val="80000"/>
                    </a:schemeClr>
                  </a:gs>
                  <a:gs pos="50000">
                    <a:schemeClr val="bg1">
                      <a:shade val="67500"/>
                      <a:satMod val="115000"/>
                    </a:schemeClr>
                  </a:gs>
                  <a:gs pos="100000">
                    <a:schemeClr val="bg1">
                      <a:shade val="100000"/>
                      <a:satMod val="11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altLang="zh-CN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zh-CN" altLang="en-US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zh-CN" altLang="en-US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</a:t>
            </a:r>
            <a:r>
              <a:rPr lang="zh-CN" altLang="en-US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on</a:t>
            </a:r>
            <a:r>
              <a:rPr lang="zh-CN" altLang="en-US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zh-CN" sz="320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altLang="zh-CN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</a:t>
            </a:r>
            <a:r>
              <a:rPr lang="zh-CN" altLang="en-US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3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lifornia</a:t>
            </a:r>
            <a:endParaRPr lang="en-US" sz="320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100699" y="2056587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4000"/>
              <a:t>Approach</a:t>
            </a:r>
            <a:endParaRPr lang="zh-CN" altLang="en-US" sz="400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3100698" y="2895615"/>
            <a:ext cx="5419185" cy="331921"/>
          </a:xfrm>
        </p:spPr>
        <p:txBody>
          <a:bodyPr>
            <a:noAutofit/>
          </a:bodyPr>
          <a:lstStyle/>
          <a:p>
            <a:pPr lvl="0"/>
            <a:r>
              <a:rPr lang="en-US" altLang="zh-CN" sz="1400"/>
              <a:t>Overview,</a:t>
            </a:r>
            <a:r>
              <a:rPr lang="zh-CN" altLang="en-US" sz="1400"/>
              <a:t> </a:t>
            </a:r>
            <a:r>
              <a:rPr lang="en-US" altLang="zh-CN" sz="1400"/>
              <a:t>Tweet</a:t>
            </a:r>
            <a:r>
              <a:rPr lang="zh-CN" altLang="en-US" sz="1400"/>
              <a:t> </a:t>
            </a:r>
            <a:r>
              <a:rPr lang="en-US" altLang="zh-CN" sz="1400"/>
              <a:t>Feature</a:t>
            </a:r>
            <a:r>
              <a:rPr lang="zh-CN" altLang="en-US" sz="1400"/>
              <a:t> </a:t>
            </a:r>
            <a:r>
              <a:rPr lang="en-US" altLang="zh-CN" sz="1400"/>
              <a:t>Engineering-NLP,</a:t>
            </a:r>
            <a:r>
              <a:rPr lang="zh-CN" altLang="en-US" sz="1400"/>
              <a:t> </a:t>
            </a:r>
            <a:r>
              <a:rPr lang="en-US" altLang="zh-CN" sz="1400"/>
              <a:t>LSTM</a:t>
            </a:r>
            <a:r>
              <a:rPr lang="zh-CN" altLang="en-US" sz="1400"/>
              <a:t> 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291830" y="2056587"/>
            <a:ext cx="1832553" cy="14465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88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z="880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4858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D0211CA-5122-D843-A0BD-18D81569423A}"/>
              </a:ext>
            </a:extLst>
          </p:cNvPr>
          <p:cNvSpPr/>
          <p:nvPr/>
        </p:nvSpPr>
        <p:spPr>
          <a:xfrm>
            <a:off x="9053303" y="1463144"/>
            <a:ext cx="2716316" cy="4598931"/>
          </a:xfrm>
          <a:prstGeom prst="roundRect">
            <a:avLst>
              <a:gd name="adj" fmla="val 11670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CA9650C2-847B-B74D-B959-089539864DD4}"/>
              </a:ext>
            </a:extLst>
          </p:cNvPr>
          <p:cNvSpPr/>
          <p:nvPr/>
        </p:nvSpPr>
        <p:spPr>
          <a:xfrm>
            <a:off x="457201" y="1463144"/>
            <a:ext cx="6483954" cy="4598932"/>
          </a:xfrm>
          <a:prstGeom prst="roundRect">
            <a:avLst>
              <a:gd name="adj" fmla="val 1273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67B005-822B-344F-98DC-FF67EF3D0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pproach</a:t>
            </a:r>
            <a:r>
              <a:rPr lang="zh-CN" altLang="en-US"/>
              <a:t> </a:t>
            </a:r>
            <a:r>
              <a:rPr lang="en-US" altLang="zh-CN"/>
              <a:t>Overview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750A3F-4CF6-D442-BBE7-1543961817B7}"/>
              </a:ext>
            </a:extLst>
          </p:cNvPr>
          <p:cNvSpPr txBox="1"/>
          <p:nvPr/>
        </p:nvSpPr>
        <p:spPr>
          <a:xfrm>
            <a:off x="895862" y="5587998"/>
            <a:ext cx="3949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in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ths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ug-Nov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)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600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858696-919B-FD48-8D0F-AAE0E3E0AE91}"/>
              </a:ext>
            </a:extLst>
          </p:cNvPr>
          <p:cNvSpPr/>
          <p:nvPr/>
        </p:nvSpPr>
        <p:spPr>
          <a:xfrm>
            <a:off x="736031" y="1895158"/>
            <a:ext cx="1117600" cy="640080"/>
          </a:xfrm>
          <a:prstGeom prst="rect">
            <a:avLst/>
          </a:prstGeom>
          <a:solidFill>
            <a:schemeClr val="accent2">
              <a:alpha val="8317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Raw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Tweets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5E40D4-4F38-7C4D-A39E-E683FC7A74CE}"/>
              </a:ext>
            </a:extLst>
          </p:cNvPr>
          <p:cNvSpPr/>
          <p:nvPr/>
        </p:nvSpPr>
        <p:spPr>
          <a:xfrm>
            <a:off x="4865559" y="1888753"/>
            <a:ext cx="1279525" cy="640080"/>
          </a:xfrm>
          <a:prstGeom prst="rect">
            <a:avLst/>
          </a:prstGeom>
          <a:solidFill>
            <a:schemeClr val="accent2">
              <a:alpha val="8317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Twitter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5139F3-D731-0E4A-A331-6A928BB44FC0}"/>
              </a:ext>
            </a:extLst>
          </p:cNvPr>
          <p:cNvSpPr/>
          <p:nvPr/>
        </p:nvSpPr>
        <p:spPr>
          <a:xfrm>
            <a:off x="4856536" y="2788363"/>
            <a:ext cx="1298681" cy="673100"/>
          </a:xfrm>
          <a:prstGeom prst="rect">
            <a:avLst/>
          </a:prstGeom>
          <a:solidFill>
            <a:schemeClr val="accent2">
              <a:alpha val="8317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Past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COVID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Data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90E444-51CC-6347-A8CB-7F957FD5E77E}"/>
              </a:ext>
            </a:extLst>
          </p:cNvPr>
          <p:cNvSpPr/>
          <p:nvPr/>
        </p:nvSpPr>
        <p:spPr>
          <a:xfrm>
            <a:off x="4865559" y="3737760"/>
            <a:ext cx="1279525" cy="871609"/>
          </a:xfrm>
          <a:prstGeom prst="rect">
            <a:avLst/>
          </a:prstGeom>
          <a:solidFill>
            <a:schemeClr val="accent2">
              <a:alpha val="8317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Google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Search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27AA5B1-4C05-B74F-814E-EA4FF5FEF8A3}"/>
              </a:ext>
            </a:extLst>
          </p:cNvPr>
          <p:cNvSpPr/>
          <p:nvPr/>
        </p:nvSpPr>
        <p:spPr>
          <a:xfrm>
            <a:off x="4882464" y="4885666"/>
            <a:ext cx="1279525" cy="871609"/>
          </a:xfrm>
          <a:prstGeom prst="rect">
            <a:avLst/>
          </a:prstGeom>
          <a:solidFill>
            <a:schemeClr val="accent2">
              <a:alpha val="8317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Facebook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Survey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48F896-7EED-414B-896F-F7AC649516B3}"/>
              </a:ext>
            </a:extLst>
          </p:cNvPr>
          <p:cNvSpPr/>
          <p:nvPr/>
        </p:nvSpPr>
        <p:spPr>
          <a:xfrm>
            <a:off x="2903548" y="1895158"/>
            <a:ext cx="1054100" cy="640080"/>
          </a:xfrm>
          <a:prstGeom prst="rect">
            <a:avLst/>
          </a:prstGeom>
          <a:solidFill>
            <a:schemeClr val="accent2">
              <a:alpha val="8317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Cleaned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Tweets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C65CCD-9758-504F-9FB2-E0E39CDCFFE4}"/>
              </a:ext>
            </a:extLst>
          </p:cNvPr>
          <p:cNvSpPr/>
          <p:nvPr/>
        </p:nvSpPr>
        <p:spPr>
          <a:xfrm>
            <a:off x="7146329" y="3270528"/>
            <a:ext cx="1701800" cy="812065"/>
          </a:xfrm>
          <a:prstGeom prst="rect">
            <a:avLst/>
          </a:prstGeom>
          <a:solidFill>
            <a:schemeClr val="accent2">
              <a:alpha val="8317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LSTM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Models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C82BCE-357E-1D4D-8BD7-6DC955123B89}"/>
              </a:ext>
            </a:extLst>
          </p:cNvPr>
          <p:cNvSpPr/>
          <p:nvPr/>
        </p:nvSpPr>
        <p:spPr>
          <a:xfrm>
            <a:off x="9568983" y="3270528"/>
            <a:ext cx="1612900" cy="798290"/>
          </a:xfrm>
          <a:prstGeom prst="rect">
            <a:avLst/>
          </a:prstGeom>
          <a:solidFill>
            <a:schemeClr val="accent2">
              <a:alpha val="8317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Future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COVID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Cases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2D4BD04-DD46-7A4B-8D38-41D365BC2032}"/>
              </a:ext>
            </a:extLst>
          </p:cNvPr>
          <p:cNvCxnSpPr>
            <a:stCxn id="7" idx="3"/>
            <a:endCxn id="12" idx="1"/>
          </p:cNvCxnSpPr>
          <p:nvPr/>
        </p:nvCxnSpPr>
        <p:spPr>
          <a:xfrm>
            <a:off x="1853631" y="2215198"/>
            <a:ext cx="104991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95FBD65-0D81-DB4C-9A33-5912063645D1}"/>
              </a:ext>
            </a:extLst>
          </p:cNvPr>
          <p:cNvCxnSpPr>
            <a:stCxn id="12" idx="3"/>
            <a:endCxn id="8" idx="1"/>
          </p:cNvCxnSpPr>
          <p:nvPr/>
        </p:nvCxnSpPr>
        <p:spPr>
          <a:xfrm flipV="1">
            <a:off x="3957648" y="2208793"/>
            <a:ext cx="907911" cy="640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6CFB2A9A-9C06-6C48-9DCD-20B995FFEBBB}"/>
              </a:ext>
            </a:extLst>
          </p:cNvPr>
          <p:cNvCxnSpPr>
            <a:stCxn id="8" idx="3"/>
            <a:endCxn id="13" idx="1"/>
          </p:cNvCxnSpPr>
          <p:nvPr/>
        </p:nvCxnSpPr>
        <p:spPr>
          <a:xfrm>
            <a:off x="6145084" y="2208793"/>
            <a:ext cx="1001245" cy="1467768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2">
            <a:extLst>
              <a:ext uri="{FF2B5EF4-FFF2-40B4-BE49-F238E27FC236}">
                <a16:creationId xmlns:a16="http://schemas.microsoft.com/office/drawing/2014/main" id="{6DCCBBBA-AF8E-D445-A998-3797952C6D60}"/>
              </a:ext>
            </a:extLst>
          </p:cNvPr>
          <p:cNvCxnSpPr>
            <a:cxnSpLocks/>
            <a:stCxn id="9" idx="3"/>
            <a:endCxn id="13" idx="1"/>
          </p:cNvCxnSpPr>
          <p:nvPr/>
        </p:nvCxnSpPr>
        <p:spPr>
          <a:xfrm>
            <a:off x="6155217" y="3124913"/>
            <a:ext cx="991112" cy="551648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2">
            <a:extLst>
              <a:ext uri="{FF2B5EF4-FFF2-40B4-BE49-F238E27FC236}">
                <a16:creationId xmlns:a16="http://schemas.microsoft.com/office/drawing/2014/main" id="{CCCCA397-EFB0-BC41-87B6-55AAFB1B28E3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 flipV="1">
            <a:off x="6145084" y="3676561"/>
            <a:ext cx="1001245" cy="497004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2">
            <a:extLst>
              <a:ext uri="{FF2B5EF4-FFF2-40B4-BE49-F238E27FC236}">
                <a16:creationId xmlns:a16="http://schemas.microsoft.com/office/drawing/2014/main" id="{B79F47FA-4933-FF4A-B557-196476C2D0C4}"/>
              </a:ext>
            </a:extLst>
          </p:cNvPr>
          <p:cNvCxnSpPr>
            <a:cxnSpLocks/>
            <a:stCxn id="11" idx="3"/>
            <a:endCxn id="13" idx="1"/>
          </p:cNvCxnSpPr>
          <p:nvPr/>
        </p:nvCxnSpPr>
        <p:spPr>
          <a:xfrm flipV="1">
            <a:off x="6161989" y="3676561"/>
            <a:ext cx="984340" cy="1644910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5434AFC2-396E-2F49-A53B-56DD212F586F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 flipV="1">
            <a:off x="8848129" y="3669673"/>
            <a:ext cx="720854" cy="688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22">
            <a:extLst>
              <a:ext uri="{FF2B5EF4-FFF2-40B4-BE49-F238E27FC236}">
                <a16:creationId xmlns:a16="http://schemas.microsoft.com/office/drawing/2014/main" id="{575264BA-C451-CC45-80D6-7978C4A04947}"/>
              </a:ext>
            </a:extLst>
          </p:cNvPr>
          <p:cNvCxnSpPr>
            <a:cxnSpLocks/>
            <a:stCxn id="14" idx="2"/>
            <a:endCxn id="13" idx="2"/>
          </p:cNvCxnSpPr>
          <p:nvPr/>
        </p:nvCxnSpPr>
        <p:spPr>
          <a:xfrm rot="5400000">
            <a:off x="9179444" y="2886603"/>
            <a:ext cx="13775" cy="2378204"/>
          </a:xfrm>
          <a:prstGeom prst="bentConnector3">
            <a:avLst>
              <a:gd name="adj1" fmla="val 3050272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A5353640-31F2-EC4C-A078-7788B2F0E32E}"/>
              </a:ext>
            </a:extLst>
          </p:cNvPr>
          <p:cNvSpPr txBox="1"/>
          <p:nvPr/>
        </p:nvSpPr>
        <p:spPr>
          <a:xfrm>
            <a:off x="8554054" y="4188284"/>
            <a:ext cx="12645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aluate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train</a:t>
            </a:r>
            <a:endParaRPr lang="en-US" sz="1600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D637D57-EF10-B346-9408-52E9E8F836B7}"/>
              </a:ext>
            </a:extLst>
          </p:cNvPr>
          <p:cNvSpPr txBox="1"/>
          <p:nvPr/>
        </p:nvSpPr>
        <p:spPr>
          <a:xfrm>
            <a:off x="9208556" y="5592173"/>
            <a:ext cx="29769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th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Dec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DC14484-7F4F-014A-82FE-29E7DCF7C691}"/>
              </a:ext>
            </a:extLst>
          </p:cNvPr>
          <p:cNvSpPr txBox="1"/>
          <p:nvPr/>
        </p:nvSpPr>
        <p:spPr>
          <a:xfrm>
            <a:off x="1726188" y="1935120"/>
            <a:ext cx="12645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eaning</a:t>
            </a:r>
            <a:endParaRPr lang="en-US" sz="1600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536774E-C83C-9B43-8642-8A2FC9FE50C6}"/>
              </a:ext>
            </a:extLst>
          </p:cNvPr>
          <p:cNvSpPr txBox="1"/>
          <p:nvPr/>
        </p:nvSpPr>
        <p:spPr>
          <a:xfrm>
            <a:off x="3786812" y="1922810"/>
            <a:ext cx="12645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LP</a:t>
            </a:r>
          </a:p>
          <a:p>
            <a:pPr algn="ctr"/>
            <a:r>
              <a:rPr lang="en-US" alt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que</a:t>
            </a:r>
            <a:endParaRPr lang="en-US" sz="1600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020395B-5229-F142-9A05-A4DB0A49CD1B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06</a:t>
            </a:r>
            <a:endParaRPr lang="en-US" sz="14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2917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052DDB-5126-B442-8067-1A265594F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73853A-188A-7049-A321-E32DFB103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408892"/>
            <a:ext cx="10850563" cy="619808"/>
          </a:xfrm>
        </p:spPr>
        <p:txBody>
          <a:bodyPr/>
          <a:lstStyle/>
          <a:p>
            <a:r>
              <a:rPr lang="en-US" altLang="zh-CN"/>
              <a:t>Twitter</a:t>
            </a:r>
            <a:r>
              <a:rPr lang="zh-CN" altLang="en-US"/>
              <a:t> </a:t>
            </a:r>
            <a:r>
              <a:rPr lang="en-US" altLang="zh-CN"/>
              <a:t>Feature</a:t>
            </a:r>
            <a:r>
              <a:rPr lang="zh-CN" altLang="en-US"/>
              <a:t> </a:t>
            </a:r>
            <a:r>
              <a:rPr lang="en-US" altLang="zh-CN"/>
              <a:t>Engineering</a:t>
            </a:r>
            <a:r>
              <a:rPr lang="zh-CN" altLang="en-US"/>
              <a:t> </a:t>
            </a:r>
            <a:r>
              <a:rPr lang="en-US" altLang="zh-CN"/>
              <a:t>–</a:t>
            </a:r>
            <a:r>
              <a:rPr lang="zh-CN" altLang="en-US"/>
              <a:t> </a:t>
            </a:r>
            <a:r>
              <a:rPr lang="en-US" altLang="zh-CN"/>
              <a:t>NLP</a:t>
            </a:r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3069900-95EC-334B-A05E-DE13935B63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524509"/>
              </p:ext>
            </p:extLst>
          </p:nvPr>
        </p:nvGraphicFramePr>
        <p:xfrm>
          <a:off x="581024" y="5131614"/>
          <a:ext cx="5061742" cy="1557122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001936">
                  <a:extLst>
                    <a:ext uri="{9D8B030D-6E8A-4147-A177-3AD203B41FA5}">
                      <a16:colId xmlns:a16="http://schemas.microsoft.com/office/drawing/2014/main" val="3867271115"/>
                    </a:ext>
                  </a:extLst>
                </a:gridCol>
                <a:gridCol w="4059806">
                  <a:extLst>
                    <a:ext uri="{9D8B030D-6E8A-4147-A177-3AD203B41FA5}">
                      <a16:colId xmlns:a16="http://schemas.microsoft.com/office/drawing/2014/main" val="4177980173"/>
                    </a:ext>
                  </a:extLst>
                </a:gridCol>
              </a:tblGrid>
              <a:tr h="374415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tegory 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eywords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48018710"/>
                  </a:ext>
                </a:extLst>
              </a:tr>
              <a:tr h="48146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ar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raid, fear, worry, nervous, dread, scare, terrify, lockdown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67487799"/>
                  </a:ext>
                </a:extLst>
              </a:tr>
              <a:tr h="326776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y home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yhomechallenge</a:t>
                      </a:r>
                      <a:r>
                        <a:rPr lang="en-US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zh-CN" altLang="en-US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yathome</a:t>
                      </a:r>
                      <a:r>
                        <a:rPr lang="en-US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140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yhome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66321498"/>
                  </a:ext>
                </a:extLst>
              </a:tr>
              <a:tr h="37447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k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k 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93099778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E834AE5-B44D-0C46-A46B-D6E1C94386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8465" y="1069357"/>
            <a:ext cx="5014384" cy="2790317"/>
          </a:xfrm>
          <a:prstGeom prst="rect">
            <a:avLst/>
          </a:prstGeom>
        </p:spPr>
      </p:pic>
      <p:grpSp>
        <p:nvGrpSpPr>
          <p:cNvPr id="30" name="组合 1">
            <a:extLst>
              <a:ext uri="{FF2B5EF4-FFF2-40B4-BE49-F238E27FC236}">
                <a16:creationId xmlns:a16="http://schemas.microsoft.com/office/drawing/2014/main" id="{AA034B1A-275A-3441-AF3F-B8A93D4DA25D}"/>
              </a:ext>
            </a:extLst>
          </p:cNvPr>
          <p:cNvGrpSpPr>
            <a:grpSpLocks noChangeAspect="1"/>
          </p:cNvGrpSpPr>
          <p:nvPr/>
        </p:nvGrpSpPr>
        <p:grpSpPr>
          <a:xfrm>
            <a:off x="581024" y="1171021"/>
            <a:ext cx="5061731" cy="3756725"/>
            <a:chOff x="752447" y="2033842"/>
            <a:chExt cx="5061731" cy="3756725"/>
          </a:xfrm>
        </p:grpSpPr>
        <p:cxnSp>
          <p:nvCxnSpPr>
            <p:cNvPr id="31" name="直接连接符 42">
              <a:extLst>
                <a:ext uri="{FF2B5EF4-FFF2-40B4-BE49-F238E27FC236}">
                  <a16:creationId xmlns:a16="http://schemas.microsoft.com/office/drawing/2014/main" id="{3CF46AF2-0FBD-554E-B565-EA3F6BC131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2448" y="2033842"/>
              <a:ext cx="0" cy="3706463"/>
            </a:xfrm>
            <a:prstGeom prst="line">
              <a:avLst/>
            </a:prstGeom>
            <a:ln w="158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圆角矩形 25">
              <a:extLst>
                <a:ext uri="{FF2B5EF4-FFF2-40B4-BE49-F238E27FC236}">
                  <a16:creationId xmlns:a16="http://schemas.microsoft.com/office/drawing/2014/main" id="{BCF81BBD-59A6-9B4B-A753-186E913EE10B}"/>
                </a:ext>
              </a:extLst>
            </p:cNvPr>
            <p:cNvSpPr/>
            <p:nvPr/>
          </p:nvSpPr>
          <p:spPr>
            <a:xfrm>
              <a:off x="1488160" y="2207907"/>
              <a:ext cx="4326018" cy="540000"/>
            </a:xfrm>
            <a:prstGeom prst="roundRect">
              <a:avLst/>
            </a:prstGeom>
            <a:solidFill>
              <a:schemeClr val="tx1">
                <a:lumMod val="50000"/>
                <a:lumOff val="50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33" name="圆角矩形 26">
              <a:extLst>
                <a:ext uri="{FF2B5EF4-FFF2-40B4-BE49-F238E27FC236}">
                  <a16:creationId xmlns:a16="http://schemas.microsoft.com/office/drawing/2014/main" id="{40B09A2A-3915-9C44-AB97-1C77067341C3}"/>
                </a:ext>
              </a:extLst>
            </p:cNvPr>
            <p:cNvSpPr/>
            <p:nvPr/>
          </p:nvSpPr>
          <p:spPr>
            <a:xfrm>
              <a:off x="1488160" y="3531869"/>
              <a:ext cx="4326018" cy="540000"/>
            </a:xfrm>
            <a:prstGeom prst="roundRect">
              <a:avLst/>
            </a:prstGeom>
            <a:solidFill>
              <a:schemeClr val="tx1">
                <a:lumMod val="50000"/>
                <a:lumOff val="50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34" name="圆角矩形 27">
              <a:extLst>
                <a:ext uri="{FF2B5EF4-FFF2-40B4-BE49-F238E27FC236}">
                  <a16:creationId xmlns:a16="http://schemas.microsoft.com/office/drawing/2014/main" id="{19C9EE7D-D61D-E440-A45E-D31564BFE033}"/>
                </a:ext>
              </a:extLst>
            </p:cNvPr>
            <p:cNvSpPr/>
            <p:nvPr/>
          </p:nvSpPr>
          <p:spPr>
            <a:xfrm>
              <a:off x="1485998" y="4740602"/>
              <a:ext cx="4318691" cy="540000"/>
            </a:xfrm>
            <a:prstGeom prst="roundRect">
              <a:avLst/>
            </a:prstGeom>
            <a:solidFill>
              <a:schemeClr val="tx1">
                <a:lumMod val="50000"/>
                <a:lumOff val="50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35" name="椭圆 28">
              <a:extLst>
                <a:ext uri="{FF2B5EF4-FFF2-40B4-BE49-F238E27FC236}">
                  <a16:creationId xmlns:a16="http://schemas.microsoft.com/office/drawing/2014/main" id="{D1A074EF-DACA-9C4E-9B10-202C5F048D6F}"/>
                </a:ext>
              </a:extLst>
            </p:cNvPr>
            <p:cNvSpPr/>
            <p:nvPr/>
          </p:nvSpPr>
          <p:spPr>
            <a:xfrm>
              <a:off x="752447" y="2207907"/>
              <a:ext cx="540002" cy="540000"/>
            </a:xfrm>
            <a:prstGeom prst="ellipse">
              <a:avLst/>
            </a:prstGeom>
            <a:solidFill>
              <a:schemeClr val="accent2"/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>
                <a:lnSpc>
                  <a:spcPct val="120000"/>
                </a:lnSpc>
              </a:pPr>
              <a:r>
                <a:rPr lang="en-US" altLang="zh-CN" sz="1600" b="1">
                  <a:solidFill>
                    <a:srgbClr val="FFFFFF"/>
                  </a:solidFill>
                </a:rPr>
                <a:t>01</a:t>
              </a:r>
              <a:endParaRPr lang="zh-CN" altLang="en-US" sz="1600" b="1">
                <a:solidFill>
                  <a:srgbClr val="FFFFFF"/>
                </a:solidFill>
              </a:endParaRPr>
            </a:p>
          </p:txBody>
        </p:sp>
        <p:grpSp>
          <p:nvGrpSpPr>
            <p:cNvPr id="36" name="组合 29">
              <a:extLst>
                <a:ext uri="{FF2B5EF4-FFF2-40B4-BE49-F238E27FC236}">
                  <a16:creationId xmlns:a16="http://schemas.microsoft.com/office/drawing/2014/main" id="{493C93BD-A054-164E-AD5F-D6F809BCB091}"/>
                </a:ext>
              </a:extLst>
            </p:cNvPr>
            <p:cNvGrpSpPr/>
            <p:nvPr/>
          </p:nvGrpSpPr>
          <p:grpSpPr>
            <a:xfrm>
              <a:off x="1488159" y="2261198"/>
              <a:ext cx="4326019" cy="1198304"/>
              <a:chOff x="3118435" y="3370234"/>
              <a:chExt cx="4326019" cy="1198304"/>
            </a:xfrm>
          </p:grpSpPr>
          <p:sp>
            <p:nvSpPr>
              <p:cNvPr id="45" name="文本框 38">
                <a:extLst>
                  <a:ext uri="{FF2B5EF4-FFF2-40B4-BE49-F238E27FC236}">
                    <a16:creationId xmlns:a16="http://schemas.microsoft.com/office/drawing/2014/main" id="{17115187-C8FE-7B47-93D1-F16820C9153C}"/>
                  </a:ext>
                </a:extLst>
              </p:cNvPr>
              <p:cNvSpPr txBox="1"/>
              <p:nvPr/>
            </p:nvSpPr>
            <p:spPr>
              <a:xfrm>
                <a:off x="3239080" y="3370234"/>
                <a:ext cx="1656159" cy="400110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r>
                  <a:rPr lang="en-US" altLang="zh-CN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Data</a:t>
                </a:r>
                <a:r>
                  <a:rPr lang="zh-CN" altLang="en-US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Cleaning</a:t>
                </a:r>
                <a:endParaRPr lang="zh-CN" altLang="en-US" sz="2000" b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6" name="矩形 39">
                <a:extLst>
                  <a:ext uri="{FF2B5EF4-FFF2-40B4-BE49-F238E27FC236}">
                    <a16:creationId xmlns:a16="http://schemas.microsoft.com/office/drawing/2014/main" id="{2CF3D14B-6C1E-D14B-AE9B-120D400D8F7A}"/>
                  </a:ext>
                </a:extLst>
              </p:cNvPr>
              <p:cNvSpPr/>
              <p:nvPr/>
            </p:nvSpPr>
            <p:spPr>
              <a:xfrm>
                <a:off x="3118435" y="3917131"/>
                <a:ext cx="4326019" cy="651407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90000" tIns="90000" rIns="90000" bIns="90000" numCol="1" spcCol="0" rtlCol="0" fromWordArt="0" anchor="ctr" anchorCtr="0" forceAA="0" compatLnSpc="1">
                <a:noAutofit/>
              </a:bodyPr>
              <a:lstStyle/>
              <a:p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emove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nnecessary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formation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like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rls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,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entions;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endParaRPr lang="en-US" altLang="zh-CN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eplace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mojis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ith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finitions</a:t>
                </a:r>
              </a:p>
              <a:p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okenization,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lemmatization,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emove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op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ords</a:t>
                </a:r>
              </a:p>
            </p:txBody>
          </p:sp>
        </p:grpSp>
        <p:sp>
          <p:nvSpPr>
            <p:cNvPr id="37" name="椭圆 30">
              <a:extLst>
                <a:ext uri="{FF2B5EF4-FFF2-40B4-BE49-F238E27FC236}">
                  <a16:creationId xmlns:a16="http://schemas.microsoft.com/office/drawing/2014/main" id="{7F0406A1-7187-1248-B897-33B93B06C7D6}"/>
                </a:ext>
              </a:extLst>
            </p:cNvPr>
            <p:cNvSpPr/>
            <p:nvPr/>
          </p:nvSpPr>
          <p:spPr>
            <a:xfrm>
              <a:off x="752447" y="3485529"/>
              <a:ext cx="540002" cy="54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600" b="1">
                  <a:solidFill>
                    <a:schemeClr val="bg1"/>
                  </a:solidFill>
                </a:rPr>
                <a:t>02</a:t>
              </a:r>
              <a:endParaRPr lang="zh-CN" altLang="en-US" sz="1600" b="1">
                <a:solidFill>
                  <a:schemeClr val="bg1"/>
                </a:solidFill>
              </a:endParaRPr>
            </a:p>
          </p:txBody>
        </p:sp>
        <p:grpSp>
          <p:nvGrpSpPr>
            <p:cNvPr id="38" name="组合 31">
              <a:extLst>
                <a:ext uri="{FF2B5EF4-FFF2-40B4-BE49-F238E27FC236}">
                  <a16:creationId xmlns:a16="http://schemas.microsoft.com/office/drawing/2014/main" id="{1BA4A584-47FB-4D4A-A01B-A2C94A34A5C1}"/>
                </a:ext>
              </a:extLst>
            </p:cNvPr>
            <p:cNvGrpSpPr/>
            <p:nvPr/>
          </p:nvGrpSpPr>
          <p:grpSpPr>
            <a:xfrm>
              <a:off x="1485999" y="3601814"/>
              <a:ext cx="4318697" cy="1011723"/>
              <a:chOff x="3116275" y="3514586"/>
              <a:chExt cx="4318697" cy="1011723"/>
            </a:xfrm>
          </p:grpSpPr>
          <p:sp>
            <p:nvSpPr>
              <p:cNvPr id="43" name="文本框 36">
                <a:extLst>
                  <a:ext uri="{FF2B5EF4-FFF2-40B4-BE49-F238E27FC236}">
                    <a16:creationId xmlns:a16="http://schemas.microsoft.com/office/drawing/2014/main" id="{E579AD57-17D2-514B-9F19-7F11E7535C53}"/>
                  </a:ext>
                </a:extLst>
              </p:cNvPr>
              <p:cNvSpPr txBox="1"/>
              <p:nvPr/>
            </p:nvSpPr>
            <p:spPr>
              <a:xfrm>
                <a:off x="3239080" y="3514586"/>
                <a:ext cx="4195892" cy="400110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r>
                  <a:rPr lang="en-US" altLang="zh-CN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Sentiment</a:t>
                </a:r>
                <a:r>
                  <a:rPr lang="zh-CN" altLang="en-US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Analysis:</a:t>
                </a:r>
                <a:r>
                  <a:rPr lang="zh-CN" altLang="en-US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Positive/negative</a:t>
                </a:r>
                <a:endParaRPr lang="zh-CN" altLang="en-US" sz="2000" b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4" name="矩形 37">
                <a:extLst>
                  <a:ext uri="{FF2B5EF4-FFF2-40B4-BE49-F238E27FC236}">
                    <a16:creationId xmlns:a16="http://schemas.microsoft.com/office/drawing/2014/main" id="{289ECEAC-4C12-1F42-B3E4-89D228BEB4F0}"/>
                  </a:ext>
                </a:extLst>
              </p:cNvPr>
              <p:cNvSpPr/>
              <p:nvPr/>
            </p:nvSpPr>
            <p:spPr>
              <a:xfrm>
                <a:off x="3116275" y="4081620"/>
                <a:ext cx="3208645" cy="444689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90000" tIns="90000" rIns="90000" bIns="90000" numCol="1" spcCol="0" rtlCol="0" fromWordArt="0" anchor="ctr" anchorCtr="0" forceAA="0" compatLnSpc="1">
                <a:noAutofit/>
              </a:bodyPr>
              <a:lstStyle/>
              <a:p>
                <a:r>
                  <a:rPr lang="en-US" altLang="zh-CN" sz="140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extblob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ackage’s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olarity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[-1,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]</a:t>
                </a:r>
              </a:p>
              <a:p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lculated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aily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os/neg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weets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rcentage</a:t>
                </a:r>
              </a:p>
            </p:txBody>
          </p:sp>
        </p:grpSp>
        <p:sp>
          <p:nvSpPr>
            <p:cNvPr id="39" name="椭圆 32">
              <a:extLst>
                <a:ext uri="{FF2B5EF4-FFF2-40B4-BE49-F238E27FC236}">
                  <a16:creationId xmlns:a16="http://schemas.microsoft.com/office/drawing/2014/main" id="{9712B3F7-245D-4942-9A86-D0D08C48F1EB}"/>
                </a:ext>
              </a:extLst>
            </p:cNvPr>
            <p:cNvSpPr/>
            <p:nvPr/>
          </p:nvSpPr>
          <p:spPr>
            <a:xfrm>
              <a:off x="752447" y="4763152"/>
              <a:ext cx="540002" cy="540000"/>
            </a:xfrm>
            <a:prstGeom prst="ellipse">
              <a:avLst/>
            </a:prstGeom>
            <a:solidFill>
              <a:schemeClr val="accent2"/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0" rIns="0" bIns="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>
                <a:lnSpc>
                  <a:spcPct val="120000"/>
                </a:lnSpc>
              </a:pPr>
              <a:r>
                <a:rPr lang="en-US" altLang="zh-CN" sz="1600" b="1">
                  <a:solidFill>
                    <a:srgbClr val="FFFFFF"/>
                  </a:solidFill>
                </a:rPr>
                <a:t>03</a:t>
              </a:r>
              <a:endParaRPr lang="zh-CN" altLang="en-US" sz="1600" b="1">
                <a:solidFill>
                  <a:srgbClr val="FFFFFF"/>
                </a:solidFill>
              </a:endParaRPr>
            </a:p>
          </p:txBody>
        </p:sp>
        <p:grpSp>
          <p:nvGrpSpPr>
            <p:cNvPr id="40" name="组合 33">
              <a:extLst>
                <a:ext uri="{FF2B5EF4-FFF2-40B4-BE49-F238E27FC236}">
                  <a16:creationId xmlns:a16="http://schemas.microsoft.com/office/drawing/2014/main" id="{E22F2CD9-0FD7-784F-9C28-2769B38A3921}"/>
                </a:ext>
              </a:extLst>
            </p:cNvPr>
            <p:cNvGrpSpPr/>
            <p:nvPr/>
          </p:nvGrpSpPr>
          <p:grpSpPr>
            <a:xfrm>
              <a:off x="1485999" y="4810547"/>
              <a:ext cx="3797228" cy="980020"/>
              <a:chOff x="3116275" y="3527054"/>
              <a:chExt cx="3797228" cy="980020"/>
            </a:xfrm>
          </p:grpSpPr>
          <p:sp>
            <p:nvSpPr>
              <p:cNvPr id="41" name="文本框 34">
                <a:extLst>
                  <a:ext uri="{FF2B5EF4-FFF2-40B4-BE49-F238E27FC236}">
                    <a16:creationId xmlns:a16="http://schemas.microsoft.com/office/drawing/2014/main" id="{3D1B54A5-971D-B244-B1B0-6589B66006BE}"/>
                  </a:ext>
                </a:extLst>
              </p:cNvPr>
              <p:cNvSpPr txBox="1"/>
              <p:nvPr/>
            </p:nvSpPr>
            <p:spPr>
              <a:xfrm>
                <a:off x="3236919" y="3527054"/>
                <a:ext cx="3676584" cy="400110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r>
                  <a:rPr lang="en-US" altLang="zh-CN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Keyword</a:t>
                </a:r>
                <a:r>
                  <a:rPr lang="zh-CN" altLang="en-US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Counts:</a:t>
                </a:r>
                <a:r>
                  <a:rPr lang="zh-CN" altLang="en-US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fear,</a:t>
                </a:r>
                <a:r>
                  <a:rPr lang="zh-CN" altLang="en-US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stay,</a:t>
                </a:r>
                <a:r>
                  <a:rPr lang="zh-CN" altLang="en-US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2000" b="1">
                    <a:latin typeface="Calibri" panose="020F0502020204030204" pitchFamily="34" charset="0"/>
                    <a:cs typeface="Calibri" panose="020F0502020204030204" pitchFamily="34" charset="0"/>
                  </a:rPr>
                  <a:t>mask</a:t>
                </a:r>
                <a:endParaRPr lang="zh-CN" altLang="en-US" sz="2000" b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2" name="矩形 35">
                <a:extLst>
                  <a:ext uri="{FF2B5EF4-FFF2-40B4-BE49-F238E27FC236}">
                    <a16:creationId xmlns:a16="http://schemas.microsoft.com/office/drawing/2014/main" id="{DA1EAC1C-739C-7447-97C2-992BCD68F273}"/>
                  </a:ext>
                </a:extLst>
              </p:cNvPr>
              <p:cNvSpPr/>
              <p:nvPr/>
            </p:nvSpPr>
            <p:spPr>
              <a:xfrm>
                <a:off x="3116275" y="4062385"/>
                <a:ext cx="3676519" cy="444689"/>
              </a:xfrm>
              <a:prstGeom prst="rect">
                <a:avLst/>
              </a:prstGeom>
              <a:noFill/>
              <a:ln w="5715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90000" tIns="90000" rIns="90000" bIns="90000" numCol="1" spcCol="0" rtlCol="0" fromWordArt="0" anchor="ctr" anchorCtr="0" forceAA="0" compatLnSpc="1">
                <a:noAutofit/>
              </a:bodyPr>
              <a:lstStyle/>
              <a:p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tegories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ased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n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evious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literature</a:t>
                </a:r>
              </a:p>
              <a:p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lculated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aily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keyword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weets</a:t>
                </a:r>
                <a:r>
                  <a:rPr lang="zh-CN" altLang="en-US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altLang="zh-CN" sz="140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rcentage</a:t>
                </a:r>
              </a:p>
            </p:txBody>
          </p:sp>
        </p:grp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D95CB597-D7AA-374D-8478-2FB22D6402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6316" y="3902159"/>
            <a:ext cx="5607321" cy="2884569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2ECD1D83-5815-374F-81A0-DD06E4382820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07</a:t>
            </a:r>
            <a:endParaRPr lang="en-US" sz="14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053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A3DD896-3981-0449-9691-4405E235E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ong</a:t>
            </a:r>
            <a:r>
              <a:rPr lang="zh-CN" altLang="en-US"/>
              <a:t> </a:t>
            </a:r>
            <a:r>
              <a:rPr lang="en-US" altLang="zh-CN"/>
              <a:t>Short-Term</a:t>
            </a:r>
            <a:r>
              <a:rPr lang="zh-CN" altLang="en-US"/>
              <a:t> </a:t>
            </a:r>
            <a:r>
              <a:rPr lang="en-US" altLang="zh-CN"/>
              <a:t>Memory</a:t>
            </a:r>
            <a:r>
              <a:rPr lang="zh-CN" altLang="en-US"/>
              <a:t> </a:t>
            </a:r>
            <a:r>
              <a:rPr lang="en-US" altLang="zh-CN"/>
              <a:t>Network</a:t>
            </a:r>
            <a:r>
              <a:rPr lang="zh-CN" altLang="en-US"/>
              <a:t> </a:t>
            </a:r>
            <a:r>
              <a:rPr lang="en-US" altLang="zh-CN"/>
              <a:t>Model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59A24BB-6F23-3941-A665-EC789B58F3C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71524" y="3945705"/>
            <a:ext cx="2339977" cy="1883595"/>
          </a:xfrm>
        </p:spPr>
        <p:txBody>
          <a:bodyPr>
            <a:normAutofit/>
          </a:bodyPr>
          <a:lstStyle/>
          <a:p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sets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</a:p>
          <a:p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Full-factorial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experiments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compare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model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performance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8A73FC05-C66C-B247-A0B9-C024AD208D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915906"/>
              </p:ext>
            </p:extLst>
          </p:nvPr>
        </p:nvGraphicFramePr>
        <p:xfrm>
          <a:off x="3357847" y="3237383"/>
          <a:ext cx="7796419" cy="35052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59284">
                  <a:extLst>
                    <a:ext uri="{9D8B030D-6E8A-4147-A177-3AD203B41FA5}">
                      <a16:colId xmlns:a16="http://schemas.microsoft.com/office/drawing/2014/main" val="2015258979"/>
                    </a:ext>
                  </a:extLst>
                </a:gridCol>
                <a:gridCol w="1559284">
                  <a:extLst>
                    <a:ext uri="{9D8B030D-6E8A-4147-A177-3AD203B41FA5}">
                      <a16:colId xmlns:a16="http://schemas.microsoft.com/office/drawing/2014/main" val="4043168429"/>
                    </a:ext>
                  </a:extLst>
                </a:gridCol>
                <a:gridCol w="1559284">
                  <a:extLst>
                    <a:ext uri="{9D8B030D-6E8A-4147-A177-3AD203B41FA5}">
                      <a16:colId xmlns:a16="http://schemas.microsoft.com/office/drawing/2014/main" val="2445092688"/>
                    </a:ext>
                  </a:extLst>
                </a:gridCol>
                <a:gridCol w="1425734">
                  <a:extLst>
                    <a:ext uri="{9D8B030D-6E8A-4147-A177-3AD203B41FA5}">
                      <a16:colId xmlns:a16="http://schemas.microsoft.com/office/drawing/2014/main" val="2772755571"/>
                    </a:ext>
                  </a:extLst>
                </a:gridCol>
                <a:gridCol w="1692833">
                  <a:extLst>
                    <a:ext uri="{9D8B030D-6E8A-4147-A177-3AD203B41FA5}">
                      <a16:colId xmlns:a16="http://schemas.microsoft.com/office/drawing/2014/main" val="1707466578"/>
                    </a:ext>
                  </a:extLst>
                </a:gridCol>
              </a:tblGrid>
              <a:tr h="40975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el</a:t>
                      </a:r>
                      <a:r>
                        <a:rPr lang="zh-CN" altLang="en-US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#</a:t>
                      </a:r>
                      <a:endParaRPr lang="en-US" sz="16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zh-CN" altLang="en-US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</a:t>
                      </a:r>
                      <a:endParaRPr lang="en-US" sz="16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itter</a:t>
                      </a:r>
                      <a:r>
                        <a:rPr lang="zh-CN" altLang="en-US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atures</a:t>
                      </a:r>
                      <a:endParaRPr lang="en-US" sz="16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oogle</a:t>
                      </a:r>
                      <a:r>
                        <a:rPr lang="zh-CN" altLang="en-US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atures</a:t>
                      </a:r>
                      <a:endParaRPr lang="en-US" sz="16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cebook</a:t>
                      </a:r>
                      <a:r>
                        <a:rPr lang="zh-CN" altLang="en-US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6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atures</a:t>
                      </a:r>
                      <a:endParaRPr lang="en-US" sz="16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1549245"/>
                  </a:ext>
                </a:extLst>
              </a:tr>
              <a:tr h="346153">
                <a:tc>
                  <a:txBody>
                    <a:bodyPr/>
                    <a:lstStyle/>
                    <a:p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zh-CN" alt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baseline)</a:t>
                      </a: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3948284"/>
                  </a:ext>
                </a:extLst>
              </a:tr>
              <a:tr h="346153">
                <a:tc>
                  <a:txBody>
                    <a:bodyPr/>
                    <a:lstStyle/>
                    <a:p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0950802"/>
                  </a:ext>
                </a:extLst>
              </a:tr>
              <a:tr h="346153">
                <a:tc>
                  <a:txBody>
                    <a:bodyPr/>
                    <a:lstStyle/>
                    <a:p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0869853"/>
                  </a:ext>
                </a:extLst>
              </a:tr>
              <a:tr h="346153">
                <a:tc>
                  <a:txBody>
                    <a:bodyPr/>
                    <a:lstStyle/>
                    <a:p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8407690"/>
                  </a:ext>
                </a:extLst>
              </a:tr>
              <a:tr h="346153">
                <a:tc>
                  <a:txBody>
                    <a:bodyPr/>
                    <a:lstStyle/>
                    <a:p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6627911"/>
                  </a:ext>
                </a:extLst>
              </a:tr>
              <a:tr h="346153">
                <a:tc>
                  <a:txBody>
                    <a:bodyPr/>
                    <a:lstStyle/>
                    <a:p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8795071"/>
                  </a:ext>
                </a:extLst>
              </a:tr>
              <a:tr h="346153">
                <a:tc>
                  <a:txBody>
                    <a:bodyPr/>
                    <a:lstStyle/>
                    <a:p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4500272"/>
                  </a:ext>
                </a:extLst>
              </a:tr>
              <a:tr h="346153">
                <a:tc>
                  <a:txBody>
                    <a:bodyPr/>
                    <a:lstStyle/>
                    <a:p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微软雅黑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微软雅黑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微软雅黑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√</a:t>
                      </a: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微软雅黑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153240"/>
                  </a:ext>
                </a:extLst>
              </a:tr>
            </a:tbl>
          </a:graphicData>
        </a:graphic>
      </p:graphicFrame>
      <p:pic>
        <p:nvPicPr>
          <p:cNvPr id="31746" name="Picture 2" descr="LSTM Networks | Dynamic Optimization">
            <a:extLst>
              <a:ext uri="{FF2B5EF4-FFF2-40B4-BE49-F238E27FC236}">
                <a16:creationId xmlns:a16="http://schemas.microsoft.com/office/drawing/2014/main" id="{E4E3B493-A3BF-3349-AF97-1D2AFA63D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443" y="1028700"/>
            <a:ext cx="3822700" cy="2319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65F0D479-3EAB-B347-AABD-BC97FE6F26B1}"/>
              </a:ext>
            </a:extLst>
          </p:cNvPr>
          <p:cNvSpPr/>
          <p:nvPr/>
        </p:nvSpPr>
        <p:spPr>
          <a:xfrm>
            <a:off x="5656055" y="1241424"/>
            <a:ext cx="4710518" cy="457200"/>
          </a:xfrm>
          <a:prstGeom prst="roundRect">
            <a:avLst/>
          </a:prstGeom>
          <a:noFill/>
          <a:ln w="19050">
            <a:solidFill>
              <a:schemeClr val="accent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e</a:t>
            </a:r>
            <a:r>
              <a:rPr lang="zh-CN" alt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zh-CN" alt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urrent</a:t>
            </a:r>
            <a:r>
              <a:rPr lang="zh-CN" alt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ural</a:t>
            </a:r>
            <a:r>
              <a:rPr lang="zh-CN" alt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twork</a:t>
            </a:r>
            <a:r>
              <a:rPr lang="zh-CN" alt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RNN)</a:t>
            </a:r>
            <a:endParaRPr lang="en-US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D555EDB-3B17-6A47-8890-CF70FF32637A}"/>
              </a:ext>
            </a:extLst>
          </p:cNvPr>
          <p:cNvSpPr/>
          <p:nvPr/>
        </p:nvSpPr>
        <p:spPr>
          <a:xfrm>
            <a:off x="5656054" y="2513495"/>
            <a:ext cx="4710519" cy="457200"/>
          </a:xfrm>
          <a:prstGeom prst="roundRect">
            <a:avLst/>
          </a:prstGeom>
          <a:noFill/>
          <a:ln w="19050">
            <a:solidFill>
              <a:schemeClr val="accent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fficient</a:t>
            </a:r>
            <a:r>
              <a:rPr lang="zh-CN" alt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</a:t>
            </a:r>
            <a:r>
              <a:rPr lang="zh-CN" alt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</a:t>
            </a:r>
            <a:r>
              <a:rPr lang="zh-CN" alt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ies</a:t>
            </a:r>
            <a:r>
              <a:rPr lang="zh-CN" alt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on</a:t>
            </a:r>
            <a:endParaRPr lang="en-US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45318E8F-738F-B446-9F0E-600CA2A33C05}"/>
              </a:ext>
            </a:extLst>
          </p:cNvPr>
          <p:cNvSpPr/>
          <p:nvPr/>
        </p:nvSpPr>
        <p:spPr>
          <a:xfrm>
            <a:off x="5656054" y="1863408"/>
            <a:ext cx="4710519" cy="457200"/>
          </a:xfrm>
          <a:prstGeom prst="roundRect">
            <a:avLst/>
          </a:prstGeom>
          <a:noFill/>
          <a:ln w="19050">
            <a:solidFill>
              <a:schemeClr val="accent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eps track of arbitrary </a:t>
            </a:r>
            <a:r>
              <a:rPr lang="en-US" altLang="zh-CN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T/ST</a:t>
            </a:r>
            <a:r>
              <a:rPr lang="zh-CN" altLang="en-US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endenc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BA4AFB7-6F2F-6B4E-BA09-199E106436C7}"/>
              </a:ext>
            </a:extLst>
          </p:cNvPr>
          <p:cNvSpPr txBox="1"/>
          <p:nvPr/>
        </p:nvSpPr>
        <p:spPr>
          <a:xfrm>
            <a:off x="0" y="6627167"/>
            <a:ext cx="661153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https://</a:t>
            </a:r>
            <a:r>
              <a:rPr lang="en-US" sz="900" err="1"/>
              <a:t>apmonitor.com</a:t>
            </a:r>
            <a:r>
              <a:rPr lang="en-US" sz="900"/>
              <a:t>/do/</a:t>
            </a:r>
            <a:r>
              <a:rPr lang="en-US" sz="900" err="1"/>
              <a:t>index.php</a:t>
            </a:r>
            <a:r>
              <a:rPr lang="en-US" sz="900"/>
              <a:t>/Main/</a:t>
            </a:r>
            <a:r>
              <a:rPr lang="en-US" sz="900" err="1"/>
              <a:t>LSTMNetwork</a:t>
            </a:r>
            <a:endParaRPr lang="en-US"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CAEE0E-E67B-7240-9AE0-C41DE5A61785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08</a:t>
            </a:r>
            <a:endParaRPr lang="en-US" sz="14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276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090720" y="2056587"/>
            <a:ext cx="6135856" cy="895351"/>
          </a:xfrm>
        </p:spPr>
        <p:txBody>
          <a:bodyPr>
            <a:noAutofit/>
          </a:bodyPr>
          <a:lstStyle/>
          <a:p>
            <a:r>
              <a:rPr lang="en-US" altLang="zh-CN" sz="4000"/>
              <a:t>Experiment</a:t>
            </a:r>
            <a:r>
              <a:rPr lang="zh-CN" altLang="en-US" sz="4000"/>
              <a:t> </a:t>
            </a:r>
            <a:r>
              <a:rPr lang="en-US" altLang="zh-CN" sz="4000"/>
              <a:t>&amp;</a:t>
            </a:r>
            <a:r>
              <a:rPr lang="zh-CN" altLang="en-US" sz="4000"/>
              <a:t> </a:t>
            </a:r>
            <a:r>
              <a:rPr lang="en-US" altLang="zh-CN" sz="4000"/>
              <a:t>Results</a:t>
            </a:r>
            <a:endParaRPr lang="zh-CN" altLang="en-US" sz="400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3090720" y="2897543"/>
            <a:ext cx="5419185" cy="605594"/>
          </a:xfrm>
        </p:spPr>
        <p:txBody>
          <a:bodyPr>
            <a:normAutofit/>
          </a:bodyPr>
          <a:lstStyle/>
          <a:p>
            <a:pPr lvl="0"/>
            <a:r>
              <a:rPr lang="en-US" altLang="zh-CN" sz="1400"/>
              <a:t>LSTM</a:t>
            </a:r>
            <a:r>
              <a:rPr lang="zh-CN" altLang="en-US" sz="1400"/>
              <a:t> </a:t>
            </a:r>
            <a:r>
              <a:rPr lang="en-US" altLang="zh-CN" sz="1400"/>
              <a:t>Results,</a:t>
            </a:r>
            <a:r>
              <a:rPr lang="zh-CN" altLang="en-US" sz="1400"/>
              <a:t> </a:t>
            </a:r>
            <a:r>
              <a:rPr lang="en-US" altLang="zh-CN" sz="1400"/>
              <a:t>Feature</a:t>
            </a:r>
            <a:r>
              <a:rPr lang="zh-CN" altLang="en-US" sz="1400"/>
              <a:t> </a:t>
            </a:r>
            <a:r>
              <a:rPr lang="en-US" altLang="zh-CN" sz="1400"/>
              <a:t>Importance</a:t>
            </a:r>
            <a:endParaRPr lang="zh-CN" altLang="en-US" sz="140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291830" y="2056587"/>
            <a:ext cx="1798890" cy="14465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88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z="880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9759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内容占位符 6">
            <a:extLst>
              <a:ext uri="{FF2B5EF4-FFF2-40B4-BE49-F238E27FC236}">
                <a16:creationId xmlns:a16="http://schemas.microsoft.com/office/drawing/2014/main" id="{E40763BD-338B-42BE-B1ED-0593C6FEF771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273579462"/>
              </p:ext>
            </p:extLst>
          </p:nvPr>
        </p:nvGraphicFramePr>
        <p:xfrm>
          <a:off x="669924" y="2355948"/>
          <a:ext cx="6868285" cy="2809643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2277120">
                  <a:extLst>
                    <a:ext uri="{9D8B030D-6E8A-4147-A177-3AD203B41FA5}">
                      <a16:colId xmlns:a16="http://schemas.microsoft.com/office/drawing/2014/main" val="2399224645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3621935183"/>
                    </a:ext>
                  </a:extLst>
                </a:gridCol>
                <a:gridCol w="2389832">
                  <a:extLst>
                    <a:ext uri="{9D8B030D-6E8A-4147-A177-3AD203B41FA5}">
                      <a16:colId xmlns:a16="http://schemas.microsoft.com/office/drawing/2014/main" val="1468854457"/>
                    </a:ext>
                  </a:extLst>
                </a:gridCol>
              </a:tblGrid>
              <a:tr h="40191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noProof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atures</a:t>
                      </a:r>
                      <a:endParaRPr lang="hy-AM" noProof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/>
                          <a:cs typeface="Calibri"/>
                        </a:rPr>
                        <a:t>Long-term</a:t>
                      </a:r>
                      <a:r>
                        <a:rPr lang="zh-CN" altLang="en-US">
                          <a:effectLst/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altLang="zh-CN">
                          <a:effectLst/>
                          <a:latin typeface="Calibri"/>
                          <a:cs typeface="Calibri"/>
                        </a:rPr>
                        <a:t>(1 month)</a:t>
                      </a:r>
                      <a:endParaRPr lang="en-US">
                        <a:effectLst/>
                        <a:latin typeface="Calibri"/>
                        <a:cs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/>
                          <a:cs typeface="Calibri"/>
                        </a:rPr>
                        <a:t>Short-term</a:t>
                      </a:r>
                      <a:r>
                        <a:rPr lang="zh-CN" altLang="en-US">
                          <a:effectLst/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altLang="zh-CN">
                          <a:effectLst/>
                          <a:latin typeface="Calibri"/>
                          <a:cs typeface="Calibri"/>
                        </a:rPr>
                        <a:t>(5 days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39638119"/>
                  </a:ext>
                </a:extLst>
              </a:tr>
              <a:tr h="2799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hy-AM" noProof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eline (COVID only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5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43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24321688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hy-AM" noProof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itter-only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3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22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5193696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hy-AM" noProof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oogle-only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8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34733914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hy-AM" noProof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cebook-only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6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46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74639856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hy-AM" noProof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itter+Googl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5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3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5166633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hy-AM" noProof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itter+Facebook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5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29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47503690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hy-AM" noProof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oogle+Facebook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3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1351082"/>
                  </a:ext>
                </a:extLst>
              </a:tr>
              <a:tr h="3039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hy-AM" noProof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-featur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1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26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90097980"/>
                  </a:ext>
                </a:extLst>
              </a:tr>
            </a:tbl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528FC47F-274B-45CB-BA93-824B7C30124A}"/>
              </a:ext>
            </a:extLst>
          </p:cNvPr>
          <p:cNvSpPr txBox="1"/>
          <p:nvPr/>
        </p:nvSpPr>
        <p:spPr>
          <a:xfrm>
            <a:off x="2357500" y="5343336"/>
            <a:ext cx="7503612" cy="1323439"/>
          </a:xfrm>
          <a:prstGeom prst="rect">
            <a:avLst/>
          </a:prstGeom>
          <a:noFill/>
          <a:ln w="12700">
            <a:solidFill>
              <a:schemeClr val="accent2"/>
            </a:solidFill>
            <a:prstDash val="lg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ost </a:t>
            </a:r>
            <a:r>
              <a:rPr lang="zh-CN" altLang="en-US" sz="20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et-informed 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models performed better</a:t>
            </a:r>
            <a:endParaRPr lang="en-US" altLang="zh-CN" sz="20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zh-CN" altLang="en-US" sz="20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rt-term 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predictions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showed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better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resul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Facebook feature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COVID-like symptom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s)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though seems closely related,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does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not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perform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as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well</a:t>
            </a:r>
            <a:endParaRPr lang="zh-CN" altLang="en-US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04A9F2-C886-0E4E-9790-60F1C3070152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09</a:t>
            </a:r>
            <a:endParaRPr lang="en-US" sz="1400">
              <a:solidFill>
                <a:schemeClr val="accent2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D377D382-250C-014A-9577-9D8929F80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/>
              <a:t>Results</a:t>
            </a:r>
            <a:r>
              <a:rPr lang="zh-CN" altLang="en-US"/>
              <a:t> </a:t>
            </a:r>
            <a:r>
              <a:rPr lang="en-US" altLang="zh-CN"/>
              <a:t>of</a:t>
            </a:r>
            <a:r>
              <a:rPr lang="zh-CN" altLang="en-US"/>
              <a:t> </a:t>
            </a:r>
            <a:r>
              <a:rPr lang="en-US" altLang="zh-CN"/>
              <a:t>LSTM</a:t>
            </a:r>
            <a:r>
              <a:rPr lang="zh-CN" altLang="en-US"/>
              <a:t> </a:t>
            </a:r>
            <a:r>
              <a:rPr lang="en-US" altLang="zh-CN"/>
              <a:t>Model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77109F-BA48-E042-A5E4-AD2A35CE910F}"/>
              </a:ext>
            </a:extLst>
          </p:cNvPr>
          <p:cNvSpPr txBox="1"/>
          <p:nvPr/>
        </p:nvSpPr>
        <p:spPr>
          <a:xfrm>
            <a:off x="669924" y="1236584"/>
            <a:ext cx="38178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>
                <a:latin typeface="Calibri" panose="020F0502020204030204" pitchFamily="34" charset="0"/>
                <a:cs typeface="Calibri" panose="020F0502020204030204" pitchFamily="34" charset="0"/>
              </a:rPr>
              <a:t>Evaluation</a:t>
            </a:r>
            <a:r>
              <a:rPr lang="zh-CN" altLang="en-US" sz="2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400">
                <a:latin typeface="Calibri" panose="020F0502020204030204" pitchFamily="34" charset="0"/>
                <a:cs typeface="Calibri" panose="020F0502020204030204" pitchFamily="34" charset="0"/>
              </a:rPr>
              <a:t>Metric:</a:t>
            </a:r>
            <a:r>
              <a:rPr lang="zh-CN" altLang="en-US" sz="24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4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RMSE</a:t>
            </a:r>
            <a:endParaRPr lang="en-US" sz="2400" b="1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DACAAFE-B6C6-D647-B294-564980B38A47}"/>
              </a:ext>
            </a:extLst>
          </p:cNvPr>
          <p:cNvSpPr txBox="1"/>
          <p:nvPr/>
        </p:nvSpPr>
        <p:spPr>
          <a:xfrm>
            <a:off x="1245694" y="1884734"/>
            <a:ext cx="629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NRMSE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Model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Predictions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in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Short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Long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Term</a:t>
            </a:r>
            <a:endParaRPr lang="en-US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图片 14" descr="图表, 折线图&#10;&#10;已自动生成说明">
            <a:extLst>
              <a:ext uri="{FF2B5EF4-FFF2-40B4-BE49-F238E27FC236}">
                <a16:creationId xmlns:a16="http://schemas.microsoft.com/office/drawing/2014/main" id="{60CABC49-58D7-1645-A20E-C0081B1944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57216" y="2355949"/>
            <a:ext cx="3969684" cy="2809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8308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6" descr="图表, 折线图&#10;&#10;已自动生成说明">
            <a:extLst>
              <a:ext uri="{FF2B5EF4-FFF2-40B4-BE49-F238E27FC236}">
                <a16:creationId xmlns:a16="http://schemas.microsoft.com/office/drawing/2014/main" id="{F990379F-F63E-4930-B2A2-FEBD8910E3C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892344" y="1367295"/>
            <a:ext cx="3557468" cy="2529147"/>
          </a:xfrm>
        </p:spPr>
      </p:pic>
      <p:pic>
        <p:nvPicPr>
          <p:cNvPr id="8" name="图片 8" descr="图表, 折线图&#10;&#10;已自动生成说明">
            <a:extLst>
              <a:ext uri="{FF2B5EF4-FFF2-40B4-BE49-F238E27FC236}">
                <a16:creationId xmlns:a16="http://schemas.microsoft.com/office/drawing/2014/main" id="{95ACB7EA-D184-4935-92B8-9560ED687E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001" y="3958775"/>
            <a:ext cx="3557468" cy="2514600"/>
          </a:xfrm>
          <a:prstGeom prst="rect">
            <a:avLst/>
          </a:prstGeom>
        </p:spPr>
      </p:pic>
      <p:pic>
        <p:nvPicPr>
          <p:cNvPr id="9" name="图片 9" descr="图表, 折线图&#10;&#10;已自动生成说明">
            <a:extLst>
              <a:ext uri="{FF2B5EF4-FFF2-40B4-BE49-F238E27FC236}">
                <a16:creationId xmlns:a16="http://schemas.microsoft.com/office/drawing/2014/main" id="{D6AC4E48-9F0A-490B-860F-FB07304251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0189" y="1399184"/>
            <a:ext cx="3557566" cy="2497258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1FAF163E-C964-445B-88DA-82E1600AD2A3}"/>
              </a:ext>
            </a:extLst>
          </p:cNvPr>
          <p:cNvSpPr txBox="1"/>
          <p:nvPr/>
        </p:nvSpPr>
        <p:spPr>
          <a:xfrm>
            <a:off x="4929968" y="1835717"/>
            <a:ext cx="2206012" cy="1477328"/>
          </a:xfrm>
          <a:prstGeom prst="rect">
            <a:avLst/>
          </a:prstGeom>
          <a:solidFill>
            <a:schemeClr val="accent2">
              <a:alpha val="12975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Out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ingle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models,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Google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’s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features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provided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most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information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produced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best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results</a:t>
            </a:r>
            <a:endParaRPr lang="zh-CN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0568E8-5A44-FF45-8490-9C1C0F3D6B01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10</a:t>
            </a:r>
            <a:endParaRPr lang="en-US" sz="1400">
              <a:solidFill>
                <a:schemeClr val="accent2"/>
              </a:solidFill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BF8F481E-E5C0-9B4D-9ACE-BA0D2E865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/>
              <a:t>Results</a:t>
            </a:r>
            <a:r>
              <a:rPr lang="zh-CN" altLang="en-US"/>
              <a:t> </a:t>
            </a:r>
            <a:r>
              <a:rPr lang="en-US" altLang="zh-CN"/>
              <a:t>of</a:t>
            </a:r>
            <a:r>
              <a:rPr lang="zh-CN" altLang="en-US"/>
              <a:t> </a:t>
            </a:r>
            <a:r>
              <a:rPr lang="en-US" altLang="zh-CN"/>
              <a:t>LSTM</a:t>
            </a:r>
            <a:r>
              <a:rPr lang="zh-CN" altLang="en-US"/>
              <a:t> </a:t>
            </a:r>
            <a:r>
              <a:rPr lang="en-US" altLang="zh-CN"/>
              <a:t>Models</a:t>
            </a:r>
            <a:endParaRPr lang="en-US"/>
          </a:p>
        </p:txBody>
      </p:sp>
      <p:pic>
        <p:nvPicPr>
          <p:cNvPr id="14" name="图片 14" descr="图表, 折线图&#10;&#10;已自动生成说明">
            <a:extLst>
              <a:ext uri="{FF2B5EF4-FFF2-40B4-BE49-F238E27FC236}">
                <a16:creationId xmlns:a16="http://schemas.microsoft.com/office/drawing/2014/main" id="{3EF1C399-468B-B249-AC1F-6D31B80D67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92560" y="4120063"/>
            <a:ext cx="3552825" cy="2514600"/>
          </a:xfrm>
          <a:prstGeom prst="rect">
            <a:avLst/>
          </a:prstGeom>
        </p:spPr>
      </p:pic>
      <p:sp>
        <p:nvSpPr>
          <p:cNvPr id="15" name="文本框 9">
            <a:extLst>
              <a:ext uri="{FF2B5EF4-FFF2-40B4-BE49-F238E27FC236}">
                <a16:creationId xmlns:a16="http://schemas.microsoft.com/office/drawing/2014/main" id="{8B078930-0554-9A44-AB41-DA397DE08A94}"/>
              </a:ext>
            </a:extLst>
          </p:cNvPr>
          <p:cNvSpPr txBox="1"/>
          <p:nvPr/>
        </p:nvSpPr>
        <p:spPr>
          <a:xfrm>
            <a:off x="4853921" y="4405090"/>
            <a:ext cx="2282059" cy="1477328"/>
          </a:xfrm>
          <a:prstGeom prst="rect">
            <a:avLst/>
          </a:prstGeom>
          <a:solidFill>
            <a:schemeClr val="accent2">
              <a:alpha val="12975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algn="ctr"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l"/>
            <a:r>
              <a:rPr lang="en-US" altLang="zh-CN"/>
              <a:t>Inspiringly,</a:t>
            </a:r>
            <a:r>
              <a:rPr lang="zh-CN" altLang="en-US"/>
              <a:t> the model performs even better when combining both Google and Twitter features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8381F32-1F29-724E-B33F-35F1AA1EDE77}"/>
              </a:ext>
            </a:extLst>
          </p:cNvPr>
          <p:cNvCxnSpPr>
            <a:cxnSpLocks/>
          </p:cNvCxnSpPr>
          <p:nvPr/>
        </p:nvCxnSpPr>
        <p:spPr>
          <a:xfrm flipH="1">
            <a:off x="7135980" y="2493943"/>
            <a:ext cx="1133726" cy="0"/>
          </a:xfrm>
          <a:prstGeom prst="line">
            <a:avLst/>
          </a:prstGeom>
          <a:ln w="28575">
            <a:solidFill>
              <a:schemeClr val="accent2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B85CB82-C1D1-1F4A-AAE3-361A6C9D1FF3}"/>
              </a:ext>
            </a:extLst>
          </p:cNvPr>
          <p:cNvCxnSpPr>
            <a:cxnSpLocks/>
          </p:cNvCxnSpPr>
          <p:nvPr/>
        </p:nvCxnSpPr>
        <p:spPr>
          <a:xfrm flipH="1">
            <a:off x="7135980" y="5203439"/>
            <a:ext cx="1133726" cy="0"/>
          </a:xfrm>
          <a:prstGeom prst="line">
            <a:avLst/>
          </a:prstGeom>
          <a:ln w="28575">
            <a:solidFill>
              <a:schemeClr val="accent2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55011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6A82E05-092D-124A-9237-EA2A14DFA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Feature</a:t>
            </a:r>
            <a:r>
              <a:rPr lang="zh-CN" altLang="en-US"/>
              <a:t> </a:t>
            </a:r>
            <a:r>
              <a:rPr lang="en-US" altLang="zh-CN"/>
              <a:t>Importance</a:t>
            </a:r>
            <a:r>
              <a:rPr lang="zh-CN" altLang="en-US"/>
              <a:t> </a:t>
            </a:r>
            <a:r>
              <a:rPr lang="en-US" altLang="zh-CN"/>
              <a:t>–</a:t>
            </a:r>
            <a:r>
              <a:rPr lang="zh-CN" altLang="en-US"/>
              <a:t> </a:t>
            </a:r>
            <a:r>
              <a:rPr lang="en-US" altLang="zh-CN"/>
              <a:t>Sensitivity</a:t>
            </a:r>
            <a:r>
              <a:rPr lang="zh-CN" altLang="en-US"/>
              <a:t> </a:t>
            </a:r>
            <a:r>
              <a:rPr lang="en-US" altLang="zh-CN"/>
              <a:t>Analysis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B196C0C-7429-CD47-A4EF-4A336D01C66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43105" y="1680368"/>
            <a:ext cx="3444876" cy="435179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altLang="zh-CN" b="1">
                <a:latin typeface="Calibri" panose="020F0502020204030204" pitchFamily="34" charset="0"/>
                <a:cs typeface="Calibri" panose="020F0502020204030204" pitchFamily="34" charset="0"/>
              </a:rPr>
              <a:t>Method:</a:t>
            </a:r>
          </a:p>
          <a:p>
            <a:pPr marL="0" indent="0">
              <a:buNone/>
            </a:pP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Sensitivity analysis, i.e., add a small perturbation to each feature and see how much the prediction is perturbed.</a:t>
            </a:r>
          </a:p>
          <a:p>
            <a:pPr marL="0" indent="0">
              <a:buNone/>
            </a:pPr>
            <a:endParaRPr lang="en-US" altLang="zh-CN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altLang="zh-CN" b="1">
                <a:latin typeface="Calibri" panose="020F0502020204030204" pitchFamily="34" charset="0"/>
                <a:cs typeface="Calibri" panose="020F0502020204030204" pitchFamily="34" charset="0"/>
              </a:rPr>
              <a:t>Observations:</a:t>
            </a:r>
            <a:r>
              <a:rPr lang="zh-CN" altLang="en-US" b="1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buNone/>
            </a:pP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Except for COVID features, Google search features turn out to be the most influential ones. Though dominated by Google search features, the model performs much better than the Google-only case.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3C1073F-BFAC-5146-B2CA-1BAF66F227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4561502"/>
              </p:ext>
            </p:extLst>
          </p:nvPr>
        </p:nvGraphicFramePr>
        <p:xfrm>
          <a:off x="919581" y="1523666"/>
          <a:ext cx="7080250" cy="450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99472B9-C9C9-AB4F-94D8-E27E6734FC2D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29924173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132398" y="2229317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4000"/>
              <a:t>Conclusion</a:t>
            </a:r>
            <a:endParaRPr lang="zh-CN" altLang="en-US" sz="400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291830" y="2056587"/>
            <a:ext cx="1840568" cy="14465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88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z="880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185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8276864C-CD4B-434F-8A5D-9F5EA4C08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cs typeface="Arial"/>
              </a:rPr>
              <a:t>Conclusion and Discussion</a:t>
            </a:r>
            <a:endParaRPr lang="zh-CN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C55E53-C825-0749-A3DE-0BE1AE97E786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12</a:t>
            </a:r>
            <a:endParaRPr lang="en-US" sz="1400">
              <a:solidFill>
                <a:schemeClr val="accent2"/>
              </a:solidFill>
            </a:endParaRPr>
          </a:p>
        </p:txBody>
      </p:sp>
      <p:grpSp>
        <p:nvGrpSpPr>
          <p:cNvPr id="8" name="组合 1">
            <a:extLst>
              <a:ext uri="{FF2B5EF4-FFF2-40B4-BE49-F238E27FC236}">
                <a16:creationId xmlns:a16="http://schemas.microsoft.com/office/drawing/2014/main" id="{17319D5B-A63C-C847-B1A8-7C7247EC0C6C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402605"/>
            <a:ext cx="12192000" cy="5455395"/>
            <a:chOff x="795" y="2365132"/>
            <a:chExt cx="12192000" cy="5455395"/>
          </a:xfrm>
        </p:grpSpPr>
        <p:sp>
          <p:nvSpPr>
            <p:cNvPr id="9" name="矩形 4">
              <a:extLst>
                <a:ext uri="{FF2B5EF4-FFF2-40B4-BE49-F238E27FC236}">
                  <a16:creationId xmlns:a16="http://schemas.microsoft.com/office/drawing/2014/main" id="{0991A9A8-3D14-3B45-8B98-232F2F2404AA}"/>
                </a:ext>
              </a:extLst>
            </p:cNvPr>
            <p:cNvSpPr/>
            <p:nvPr/>
          </p:nvSpPr>
          <p:spPr>
            <a:xfrm>
              <a:off x="795" y="5421901"/>
              <a:ext cx="12192000" cy="2398626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0" name="组合 8">
              <a:extLst>
                <a:ext uri="{FF2B5EF4-FFF2-40B4-BE49-F238E27FC236}">
                  <a16:creationId xmlns:a16="http://schemas.microsoft.com/office/drawing/2014/main" id="{EA0D29A7-BF71-9A49-AA99-EB402FDBEB94}"/>
                </a:ext>
              </a:extLst>
            </p:cNvPr>
            <p:cNvGrpSpPr/>
            <p:nvPr/>
          </p:nvGrpSpPr>
          <p:grpSpPr>
            <a:xfrm>
              <a:off x="10464844" y="5492451"/>
              <a:ext cx="1514887" cy="726217"/>
              <a:chOff x="9303701" y="4563063"/>
              <a:chExt cx="1514887" cy="726217"/>
            </a:xfrm>
            <a:solidFill>
              <a:schemeClr val="tx1">
                <a:lumMod val="50000"/>
                <a:lumOff val="50000"/>
                <a:alpha val="50000"/>
              </a:schemeClr>
            </a:solidFill>
          </p:grpSpPr>
          <p:sp>
            <p:nvSpPr>
              <p:cNvPr id="30" name="任意多边形 9">
                <a:extLst>
                  <a:ext uri="{FF2B5EF4-FFF2-40B4-BE49-F238E27FC236}">
                    <a16:creationId xmlns:a16="http://schemas.microsoft.com/office/drawing/2014/main" id="{B10314A4-FF33-7445-8AC7-58C07BEEBF49}"/>
                  </a:ext>
                </a:extLst>
              </p:cNvPr>
              <p:cNvSpPr/>
              <p:nvPr/>
            </p:nvSpPr>
            <p:spPr>
              <a:xfrm>
                <a:off x="10755947" y="5226644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1" name="任意多边形 10">
                <a:extLst>
                  <a:ext uri="{FF2B5EF4-FFF2-40B4-BE49-F238E27FC236}">
                    <a16:creationId xmlns:a16="http://schemas.microsoft.com/office/drawing/2014/main" id="{5265F71C-1CD1-5A4F-900D-DC53472FA01D}"/>
                  </a:ext>
                </a:extLst>
              </p:cNvPr>
              <p:cNvSpPr/>
              <p:nvPr/>
            </p:nvSpPr>
            <p:spPr>
              <a:xfrm>
                <a:off x="10513928" y="5226644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2" name="任意多边形 11">
                <a:extLst>
                  <a:ext uri="{FF2B5EF4-FFF2-40B4-BE49-F238E27FC236}">
                    <a16:creationId xmlns:a16="http://schemas.microsoft.com/office/drawing/2014/main" id="{44304A51-5C11-BC41-9987-86B648295E55}"/>
                  </a:ext>
                </a:extLst>
              </p:cNvPr>
              <p:cNvSpPr/>
              <p:nvPr/>
            </p:nvSpPr>
            <p:spPr>
              <a:xfrm>
                <a:off x="10271876" y="5226644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" name="任意多边形 12">
                <a:extLst>
                  <a:ext uri="{FF2B5EF4-FFF2-40B4-BE49-F238E27FC236}">
                    <a16:creationId xmlns:a16="http://schemas.microsoft.com/office/drawing/2014/main" id="{85ABF60B-7DD5-7D4B-94C6-5830416A10E3}"/>
                  </a:ext>
                </a:extLst>
              </p:cNvPr>
              <p:cNvSpPr/>
              <p:nvPr/>
            </p:nvSpPr>
            <p:spPr>
              <a:xfrm>
                <a:off x="10029825" y="5226644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4" name="任意多边形 13">
                <a:extLst>
                  <a:ext uri="{FF2B5EF4-FFF2-40B4-BE49-F238E27FC236}">
                    <a16:creationId xmlns:a16="http://schemas.microsoft.com/office/drawing/2014/main" id="{11995F4D-190F-884E-B5E6-71B502F97DC1}"/>
                  </a:ext>
                </a:extLst>
              </p:cNvPr>
              <p:cNvSpPr/>
              <p:nvPr/>
            </p:nvSpPr>
            <p:spPr>
              <a:xfrm>
                <a:off x="9787806" y="5226644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9 w 62636"/>
                  <a:gd name="connsiteY1" fmla="*/ 62637 h 62636"/>
                  <a:gd name="connsiteX2" fmla="*/ 0 w 62636"/>
                  <a:gd name="connsiteY2" fmla="*/ 31318 h 62636"/>
                  <a:gd name="connsiteX3" fmla="*/ 31319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9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9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5" name="任意多边形 14">
                <a:extLst>
                  <a:ext uri="{FF2B5EF4-FFF2-40B4-BE49-F238E27FC236}">
                    <a16:creationId xmlns:a16="http://schemas.microsoft.com/office/drawing/2014/main" id="{1CF3BCFD-5E3D-6E42-8B5E-8B4FD0609689}"/>
                  </a:ext>
                </a:extLst>
              </p:cNvPr>
              <p:cNvSpPr/>
              <p:nvPr/>
            </p:nvSpPr>
            <p:spPr>
              <a:xfrm>
                <a:off x="9545755" y="5226644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6" name="任意多边形 15">
                <a:extLst>
                  <a:ext uri="{FF2B5EF4-FFF2-40B4-BE49-F238E27FC236}">
                    <a16:creationId xmlns:a16="http://schemas.microsoft.com/office/drawing/2014/main" id="{C80B8748-9582-6841-AE20-78157144AADC}"/>
                  </a:ext>
                </a:extLst>
              </p:cNvPr>
              <p:cNvSpPr/>
              <p:nvPr/>
            </p:nvSpPr>
            <p:spPr>
              <a:xfrm>
                <a:off x="9303704" y="5226644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7" name="任意多边形 16">
                <a:extLst>
                  <a:ext uri="{FF2B5EF4-FFF2-40B4-BE49-F238E27FC236}">
                    <a16:creationId xmlns:a16="http://schemas.microsoft.com/office/drawing/2014/main" id="{F68FBF8D-56A6-2944-83D4-830E7269ABCA}"/>
                  </a:ext>
                </a:extLst>
              </p:cNvPr>
              <p:cNvSpPr/>
              <p:nvPr/>
            </p:nvSpPr>
            <p:spPr>
              <a:xfrm rot="-4606435">
                <a:off x="10755950" y="5005407"/>
                <a:ext cx="62638" cy="62638"/>
              </a:xfrm>
              <a:custGeom>
                <a:avLst/>
                <a:gdLst>
                  <a:gd name="connsiteX0" fmla="*/ 62639 w 62638"/>
                  <a:gd name="connsiteY0" fmla="*/ 31319 h 62638"/>
                  <a:gd name="connsiteX1" fmla="*/ 31319 w 62638"/>
                  <a:gd name="connsiteY1" fmla="*/ 62639 h 62638"/>
                  <a:gd name="connsiteX2" fmla="*/ 0 w 62638"/>
                  <a:gd name="connsiteY2" fmla="*/ 31319 h 62638"/>
                  <a:gd name="connsiteX3" fmla="*/ 31319 w 62638"/>
                  <a:gd name="connsiteY3" fmla="*/ 0 h 62638"/>
                  <a:gd name="connsiteX4" fmla="*/ 62639 w 62638"/>
                  <a:gd name="connsiteY4" fmla="*/ 31319 h 62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8" h="62638">
                    <a:moveTo>
                      <a:pt x="62639" y="31319"/>
                    </a:moveTo>
                    <a:cubicBezTo>
                      <a:pt x="62639" y="48616"/>
                      <a:pt x="48616" y="62639"/>
                      <a:pt x="31319" y="62639"/>
                    </a:cubicBezTo>
                    <a:cubicBezTo>
                      <a:pt x="14022" y="62639"/>
                      <a:pt x="0" y="48616"/>
                      <a:pt x="0" y="31319"/>
                    </a:cubicBezTo>
                    <a:cubicBezTo>
                      <a:pt x="0" y="14022"/>
                      <a:pt x="14022" y="0"/>
                      <a:pt x="31319" y="0"/>
                    </a:cubicBezTo>
                    <a:cubicBezTo>
                      <a:pt x="48616" y="0"/>
                      <a:pt x="62639" y="14022"/>
                      <a:pt x="62639" y="31319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8" name="任意多边形 17">
                <a:extLst>
                  <a:ext uri="{FF2B5EF4-FFF2-40B4-BE49-F238E27FC236}">
                    <a16:creationId xmlns:a16="http://schemas.microsoft.com/office/drawing/2014/main" id="{46AD2D82-8F8D-B14B-9C62-F076D85D01E7}"/>
                  </a:ext>
                </a:extLst>
              </p:cNvPr>
              <p:cNvSpPr/>
              <p:nvPr/>
            </p:nvSpPr>
            <p:spPr>
              <a:xfrm rot="-4819714">
                <a:off x="10513906" y="5005410"/>
                <a:ext cx="62637" cy="62637"/>
              </a:xfrm>
              <a:custGeom>
                <a:avLst/>
                <a:gdLst>
                  <a:gd name="connsiteX0" fmla="*/ 62638 w 62637"/>
                  <a:gd name="connsiteY0" fmla="*/ 31319 h 62637"/>
                  <a:gd name="connsiteX1" fmla="*/ 31319 w 62637"/>
                  <a:gd name="connsiteY1" fmla="*/ 62638 h 62637"/>
                  <a:gd name="connsiteX2" fmla="*/ 0 w 62637"/>
                  <a:gd name="connsiteY2" fmla="*/ 31319 h 62637"/>
                  <a:gd name="connsiteX3" fmla="*/ 31319 w 62637"/>
                  <a:gd name="connsiteY3" fmla="*/ 0 h 62637"/>
                  <a:gd name="connsiteX4" fmla="*/ 62638 w 62637"/>
                  <a:gd name="connsiteY4" fmla="*/ 31319 h 62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7" h="62637">
                    <a:moveTo>
                      <a:pt x="62638" y="31319"/>
                    </a:moveTo>
                    <a:cubicBezTo>
                      <a:pt x="62638" y="48616"/>
                      <a:pt x="48616" y="62638"/>
                      <a:pt x="31319" y="62638"/>
                    </a:cubicBezTo>
                    <a:cubicBezTo>
                      <a:pt x="14022" y="62638"/>
                      <a:pt x="0" y="48616"/>
                      <a:pt x="0" y="31319"/>
                    </a:cubicBezTo>
                    <a:cubicBezTo>
                      <a:pt x="0" y="14022"/>
                      <a:pt x="14022" y="0"/>
                      <a:pt x="31319" y="0"/>
                    </a:cubicBezTo>
                    <a:cubicBezTo>
                      <a:pt x="48616" y="0"/>
                      <a:pt x="62638" y="14022"/>
                      <a:pt x="62638" y="31319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9" name="任意多边形 18">
                <a:extLst>
                  <a:ext uri="{FF2B5EF4-FFF2-40B4-BE49-F238E27FC236}">
                    <a16:creationId xmlns:a16="http://schemas.microsoft.com/office/drawing/2014/main" id="{0BE09FCE-90ED-BB4A-974E-EE1DED009A5D}"/>
                  </a:ext>
                </a:extLst>
              </p:cNvPr>
              <p:cNvSpPr/>
              <p:nvPr/>
            </p:nvSpPr>
            <p:spPr>
              <a:xfrm rot="-4848650">
                <a:off x="10271898" y="5005414"/>
                <a:ext cx="62639" cy="62639"/>
              </a:xfrm>
              <a:custGeom>
                <a:avLst/>
                <a:gdLst>
                  <a:gd name="connsiteX0" fmla="*/ 62639 w 62639"/>
                  <a:gd name="connsiteY0" fmla="*/ 31320 h 62639"/>
                  <a:gd name="connsiteX1" fmla="*/ 31320 w 62639"/>
                  <a:gd name="connsiteY1" fmla="*/ 62639 h 62639"/>
                  <a:gd name="connsiteX2" fmla="*/ 0 w 62639"/>
                  <a:gd name="connsiteY2" fmla="*/ 31320 h 62639"/>
                  <a:gd name="connsiteX3" fmla="*/ 31320 w 62639"/>
                  <a:gd name="connsiteY3" fmla="*/ 0 h 62639"/>
                  <a:gd name="connsiteX4" fmla="*/ 62639 w 62639"/>
                  <a:gd name="connsiteY4" fmla="*/ 31320 h 6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9" h="62639">
                    <a:moveTo>
                      <a:pt x="62639" y="31320"/>
                    </a:moveTo>
                    <a:cubicBezTo>
                      <a:pt x="62639" y="48617"/>
                      <a:pt x="48617" y="62639"/>
                      <a:pt x="31320" y="62639"/>
                    </a:cubicBezTo>
                    <a:cubicBezTo>
                      <a:pt x="14022" y="62639"/>
                      <a:pt x="0" y="48617"/>
                      <a:pt x="0" y="31320"/>
                    </a:cubicBezTo>
                    <a:cubicBezTo>
                      <a:pt x="0" y="14022"/>
                      <a:pt x="14022" y="0"/>
                      <a:pt x="31320" y="0"/>
                    </a:cubicBezTo>
                    <a:cubicBezTo>
                      <a:pt x="48617" y="0"/>
                      <a:pt x="62639" y="14022"/>
                      <a:pt x="62639" y="31320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0" name="任意多边形 19">
                <a:extLst>
                  <a:ext uri="{FF2B5EF4-FFF2-40B4-BE49-F238E27FC236}">
                    <a16:creationId xmlns:a16="http://schemas.microsoft.com/office/drawing/2014/main" id="{1F2BA2D5-519A-3847-A90D-B9DC80D57028}"/>
                  </a:ext>
                </a:extLst>
              </p:cNvPr>
              <p:cNvSpPr/>
              <p:nvPr/>
            </p:nvSpPr>
            <p:spPr>
              <a:xfrm rot="-4848650">
                <a:off x="10029858" y="5005435"/>
                <a:ext cx="62639" cy="62639"/>
              </a:xfrm>
              <a:custGeom>
                <a:avLst/>
                <a:gdLst>
                  <a:gd name="connsiteX0" fmla="*/ 62639 w 62639"/>
                  <a:gd name="connsiteY0" fmla="*/ 31320 h 62639"/>
                  <a:gd name="connsiteX1" fmla="*/ 31320 w 62639"/>
                  <a:gd name="connsiteY1" fmla="*/ 62639 h 62639"/>
                  <a:gd name="connsiteX2" fmla="*/ 0 w 62639"/>
                  <a:gd name="connsiteY2" fmla="*/ 31320 h 62639"/>
                  <a:gd name="connsiteX3" fmla="*/ 31320 w 62639"/>
                  <a:gd name="connsiteY3" fmla="*/ 0 h 62639"/>
                  <a:gd name="connsiteX4" fmla="*/ 62639 w 62639"/>
                  <a:gd name="connsiteY4" fmla="*/ 31320 h 6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9" h="62639">
                    <a:moveTo>
                      <a:pt x="62639" y="31320"/>
                    </a:moveTo>
                    <a:cubicBezTo>
                      <a:pt x="62639" y="48617"/>
                      <a:pt x="48617" y="62639"/>
                      <a:pt x="31320" y="62639"/>
                    </a:cubicBezTo>
                    <a:cubicBezTo>
                      <a:pt x="14022" y="62639"/>
                      <a:pt x="0" y="48617"/>
                      <a:pt x="0" y="31320"/>
                    </a:cubicBezTo>
                    <a:cubicBezTo>
                      <a:pt x="0" y="14022"/>
                      <a:pt x="14022" y="0"/>
                      <a:pt x="31320" y="0"/>
                    </a:cubicBezTo>
                    <a:cubicBezTo>
                      <a:pt x="48617" y="0"/>
                      <a:pt x="62639" y="14022"/>
                      <a:pt x="62639" y="31320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1" name="任意多边形 20">
                <a:extLst>
                  <a:ext uri="{FF2B5EF4-FFF2-40B4-BE49-F238E27FC236}">
                    <a16:creationId xmlns:a16="http://schemas.microsoft.com/office/drawing/2014/main" id="{91087724-549B-C54C-B59A-6EA5158636BF}"/>
                  </a:ext>
                </a:extLst>
              </p:cNvPr>
              <p:cNvSpPr/>
              <p:nvPr/>
            </p:nvSpPr>
            <p:spPr>
              <a:xfrm rot="-2365709">
                <a:off x="9787800" y="5005441"/>
                <a:ext cx="62635" cy="62635"/>
              </a:xfrm>
              <a:custGeom>
                <a:avLst/>
                <a:gdLst>
                  <a:gd name="connsiteX0" fmla="*/ 62636 w 62635"/>
                  <a:gd name="connsiteY0" fmla="*/ 31318 h 62635"/>
                  <a:gd name="connsiteX1" fmla="*/ 31318 w 62635"/>
                  <a:gd name="connsiteY1" fmla="*/ 62636 h 62635"/>
                  <a:gd name="connsiteX2" fmla="*/ 0 w 62635"/>
                  <a:gd name="connsiteY2" fmla="*/ 31318 h 62635"/>
                  <a:gd name="connsiteX3" fmla="*/ 31318 w 62635"/>
                  <a:gd name="connsiteY3" fmla="*/ 0 h 62635"/>
                  <a:gd name="connsiteX4" fmla="*/ 62636 w 62635"/>
                  <a:gd name="connsiteY4" fmla="*/ 31318 h 62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5" h="62635">
                    <a:moveTo>
                      <a:pt x="62636" y="31318"/>
                    </a:moveTo>
                    <a:cubicBezTo>
                      <a:pt x="62636" y="48614"/>
                      <a:pt x="48614" y="62636"/>
                      <a:pt x="31318" y="62636"/>
                    </a:cubicBezTo>
                    <a:cubicBezTo>
                      <a:pt x="14021" y="62636"/>
                      <a:pt x="0" y="48614"/>
                      <a:pt x="0" y="31318"/>
                    </a:cubicBezTo>
                    <a:cubicBezTo>
                      <a:pt x="0" y="14021"/>
                      <a:pt x="14021" y="0"/>
                      <a:pt x="31318" y="0"/>
                    </a:cubicBezTo>
                    <a:cubicBezTo>
                      <a:pt x="48614" y="0"/>
                      <a:pt x="62636" y="14021"/>
                      <a:pt x="62636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2" name="任意多边形 21">
                <a:extLst>
                  <a:ext uri="{FF2B5EF4-FFF2-40B4-BE49-F238E27FC236}">
                    <a16:creationId xmlns:a16="http://schemas.microsoft.com/office/drawing/2014/main" id="{9FC59F4A-9C7B-9343-B129-FF3E2B9E0614}"/>
                  </a:ext>
                </a:extLst>
              </p:cNvPr>
              <p:cNvSpPr/>
              <p:nvPr/>
            </p:nvSpPr>
            <p:spPr>
              <a:xfrm rot="-4606435">
                <a:off x="9545781" y="5005442"/>
                <a:ext cx="62638" cy="62638"/>
              </a:xfrm>
              <a:custGeom>
                <a:avLst/>
                <a:gdLst>
                  <a:gd name="connsiteX0" fmla="*/ 62639 w 62638"/>
                  <a:gd name="connsiteY0" fmla="*/ 31319 h 62638"/>
                  <a:gd name="connsiteX1" fmla="*/ 31319 w 62638"/>
                  <a:gd name="connsiteY1" fmla="*/ 62639 h 62638"/>
                  <a:gd name="connsiteX2" fmla="*/ 0 w 62638"/>
                  <a:gd name="connsiteY2" fmla="*/ 31319 h 62638"/>
                  <a:gd name="connsiteX3" fmla="*/ 31319 w 62638"/>
                  <a:gd name="connsiteY3" fmla="*/ 0 h 62638"/>
                  <a:gd name="connsiteX4" fmla="*/ 62639 w 62638"/>
                  <a:gd name="connsiteY4" fmla="*/ 31319 h 62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8" h="62638">
                    <a:moveTo>
                      <a:pt x="62639" y="31319"/>
                    </a:moveTo>
                    <a:cubicBezTo>
                      <a:pt x="62639" y="48616"/>
                      <a:pt x="48616" y="62639"/>
                      <a:pt x="31319" y="62639"/>
                    </a:cubicBezTo>
                    <a:cubicBezTo>
                      <a:pt x="14022" y="62639"/>
                      <a:pt x="0" y="48616"/>
                      <a:pt x="0" y="31319"/>
                    </a:cubicBezTo>
                    <a:cubicBezTo>
                      <a:pt x="0" y="14022"/>
                      <a:pt x="14022" y="0"/>
                      <a:pt x="31319" y="0"/>
                    </a:cubicBezTo>
                    <a:cubicBezTo>
                      <a:pt x="48616" y="0"/>
                      <a:pt x="62639" y="14022"/>
                      <a:pt x="62639" y="31319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3" name="任意多边形 22">
                <a:extLst>
                  <a:ext uri="{FF2B5EF4-FFF2-40B4-BE49-F238E27FC236}">
                    <a16:creationId xmlns:a16="http://schemas.microsoft.com/office/drawing/2014/main" id="{AEB83595-627E-3A4E-80BA-C758E70A9B1E}"/>
                  </a:ext>
                </a:extLst>
              </p:cNvPr>
              <p:cNvSpPr/>
              <p:nvPr/>
            </p:nvSpPr>
            <p:spPr>
              <a:xfrm rot="-4879621">
                <a:off x="9303750" y="5005462"/>
                <a:ext cx="62639" cy="62639"/>
              </a:xfrm>
              <a:custGeom>
                <a:avLst/>
                <a:gdLst>
                  <a:gd name="connsiteX0" fmla="*/ 62639 w 62639"/>
                  <a:gd name="connsiteY0" fmla="*/ 31320 h 62639"/>
                  <a:gd name="connsiteX1" fmla="*/ 31320 w 62639"/>
                  <a:gd name="connsiteY1" fmla="*/ 62639 h 62639"/>
                  <a:gd name="connsiteX2" fmla="*/ 0 w 62639"/>
                  <a:gd name="connsiteY2" fmla="*/ 31320 h 62639"/>
                  <a:gd name="connsiteX3" fmla="*/ 31320 w 62639"/>
                  <a:gd name="connsiteY3" fmla="*/ 0 h 62639"/>
                  <a:gd name="connsiteX4" fmla="*/ 62639 w 62639"/>
                  <a:gd name="connsiteY4" fmla="*/ 31320 h 6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9" h="62639">
                    <a:moveTo>
                      <a:pt x="62639" y="31320"/>
                    </a:moveTo>
                    <a:cubicBezTo>
                      <a:pt x="62639" y="48617"/>
                      <a:pt x="48617" y="62639"/>
                      <a:pt x="31320" y="62639"/>
                    </a:cubicBezTo>
                    <a:cubicBezTo>
                      <a:pt x="14022" y="62639"/>
                      <a:pt x="0" y="48617"/>
                      <a:pt x="0" y="31320"/>
                    </a:cubicBezTo>
                    <a:cubicBezTo>
                      <a:pt x="0" y="14022"/>
                      <a:pt x="14022" y="0"/>
                      <a:pt x="31320" y="0"/>
                    </a:cubicBezTo>
                    <a:cubicBezTo>
                      <a:pt x="48617" y="0"/>
                      <a:pt x="62639" y="14022"/>
                      <a:pt x="62639" y="31320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4" name="任意多边形 23">
                <a:extLst>
                  <a:ext uri="{FF2B5EF4-FFF2-40B4-BE49-F238E27FC236}">
                    <a16:creationId xmlns:a16="http://schemas.microsoft.com/office/drawing/2014/main" id="{A7505652-584F-B349-B4AB-C399CE4E25C3}"/>
                  </a:ext>
                </a:extLst>
              </p:cNvPr>
              <p:cNvSpPr/>
              <p:nvPr/>
            </p:nvSpPr>
            <p:spPr>
              <a:xfrm>
                <a:off x="10755947" y="4784299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5" name="任意多边形 24">
                <a:extLst>
                  <a:ext uri="{FF2B5EF4-FFF2-40B4-BE49-F238E27FC236}">
                    <a16:creationId xmlns:a16="http://schemas.microsoft.com/office/drawing/2014/main" id="{0B2CE768-67F6-704A-B2FD-A69AEF2CE90A}"/>
                  </a:ext>
                </a:extLst>
              </p:cNvPr>
              <p:cNvSpPr/>
              <p:nvPr/>
            </p:nvSpPr>
            <p:spPr>
              <a:xfrm>
                <a:off x="10513928" y="4784299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6" name="任意多边形 25">
                <a:extLst>
                  <a:ext uri="{FF2B5EF4-FFF2-40B4-BE49-F238E27FC236}">
                    <a16:creationId xmlns:a16="http://schemas.microsoft.com/office/drawing/2014/main" id="{4846C638-59F6-6447-A5F0-1CA7F3B754EF}"/>
                  </a:ext>
                </a:extLst>
              </p:cNvPr>
              <p:cNvSpPr/>
              <p:nvPr/>
            </p:nvSpPr>
            <p:spPr>
              <a:xfrm>
                <a:off x="10271876" y="4784299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7" name="任意多边形 26">
                <a:extLst>
                  <a:ext uri="{FF2B5EF4-FFF2-40B4-BE49-F238E27FC236}">
                    <a16:creationId xmlns:a16="http://schemas.microsoft.com/office/drawing/2014/main" id="{EAB2E63A-36E9-3B43-8C9C-274116F95C8B}"/>
                  </a:ext>
                </a:extLst>
              </p:cNvPr>
              <p:cNvSpPr/>
              <p:nvPr/>
            </p:nvSpPr>
            <p:spPr>
              <a:xfrm>
                <a:off x="10029825" y="4784299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8" name="任意多边形 27">
                <a:extLst>
                  <a:ext uri="{FF2B5EF4-FFF2-40B4-BE49-F238E27FC236}">
                    <a16:creationId xmlns:a16="http://schemas.microsoft.com/office/drawing/2014/main" id="{A9401057-7329-CF46-B2E9-E50A43C38832}"/>
                  </a:ext>
                </a:extLst>
              </p:cNvPr>
              <p:cNvSpPr/>
              <p:nvPr/>
            </p:nvSpPr>
            <p:spPr>
              <a:xfrm>
                <a:off x="9787806" y="4784299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9 w 62636"/>
                  <a:gd name="connsiteY1" fmla="*/ 62637 h 62636"/>
                  <a:gd name="connsiteX2" fmla="*/ 0 w 62636"/>
                  <a:gd name="connsiteY2" fmla="*/ 31318 h 62636"/>
                  <a:gd name="connsiteX3" fmla="*/ 31319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9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9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9" name="任意多边形 28">
                <a:extLst>
                  <a:ext uri="{FF2B5EF4-FFF2-40B4-BE49-F238E27FC236}">
                    <a16:creationId xmlns:a16="http://schemas.microsoft.com/office/drawing/2014/main" id="{C57DD11C-7A45-2941-BAB4-4D99CB81E608}"/>
                  </a:ext>
                </a:extLst>
              </p:cNvPr>
              <p:cNvSpPr/>
              <p:nvPr/>
            </p:nvSpPr>
            <p:spPr>
              <a:xfrm>
                <a:off x="9545755" y="4784299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0" name="任意多边形 29">
                <a:extLst>
                  <a:ext uri="{FF2B5EF4-FFF2-40B4-BE49-F238E27FC236}">
                    <a16:creationId xmlns:a16="http://schemas.microsoft.com/office/drawing/2014/main" id="{D31876AA-1DB9-054A-A284-E04ABFCED3C8}"/>
                  </a:ext>
                </a:extLst>
              </p:cNvPr>
              <p:cNvSpPr/>
              <p:nvPr/>
            </p:nvSpPr>
            <p:spPr>
              <a:xfrm>
                <a:off x="9303704" y="4784299"/>
                <a:ext cx="62636" cy="62636"/>
              </a:xfrm>
              <a:custGeom>
                <a:avLst/>
                <a:gdLst>
                  <a:gd name="connsiteX0" fmla="*/ 62637 w 62636"/>
                  <a:gd name="connsiteY0" fmla="*/ 31318 h 62636"/>
                  <a:gd name="connsiteX1" fmla="*/ 31318 w 62636"/>
                  <a:gd name="connsiteY1" fmla="*/ 62637 h 62636"/>
                  <a:gd name="connsiteX2" fmla="*/ 0 w 62636"/>
                  <a:gd name="connsiteY2" fmla="*/ 31318 h 62636"/>
                  <a:gd name="connsiteX3" fmla="*/ 31318 w 62636"/>
                  <a:gd name="connsiteY3" fmla="*/ 0 h 62636"/>
                  <a:gd name="connsiteX4" fmla="*/ 62637 w 62636"/>
                  <a:gd name="connsiteY4" fmla="*/ 31318 h 62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6" h="62636">
                    <a:moveTo>
                      <a:pt x="62637" y="31318"/>
                    </a:moveTo>
                    <a:cubicBezTo>
                      <a:pt x="62637" y="48615"/>
                      <a:pt x="48615" y="62637"/>
                      <a:pt x="31318" y="62637"/>
                    </a:cubicBezTo>
                    <a:cubicBezTo>
                      <a:pt x="14022" y="62637"/>
                      <a:pt x="0" y="48615"/>
                      <a:pt x="0" y="31318"/>
                    </a:cubicBezTo>
                    <a:cubicBezTo>
                      <a:pt x="0" y="14022"/>
                      <a:pt x="14022" y="0"/>
                      <a:pt x="31318" y="0"/>
                    </a:cubicBezTo>
                    <a:cubicBezTo>
                      <a:pt x="48615" y="0"/>
                      <a:pt x="62637" y="14022"/>
                      <a:pt x="62637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1" name="任意多边形 30">
                <a:extLst>
                  <a:ext uri="{FF2B5EF4-FFF2-40B4-BE49-F238E27FC236}">
                    <a16:creationId xmlns:a16="http://schemas.microsoft.com/office/drawing/2014/main" id="{AE5AFE18-A020-FE45-88D6-6E8AC7E2EDAD}"/>
                  </a:ext>
                </a:extLst>
              </p:cNvPr>
              <p:cNvSpPr/>
              <p:nvPr/>
            </p:nvSpPr>
            <p:spPr>
              <a:xfrm rot="-4606435">
                <a:off x="10755906" y="4563063"/>
                <a:ext cx="62638" cy="62638"/>
              </a:xfrm>
              <a:custGeom>
                <a:avLst/>
                <a:gdLst>
                  <a:gd name="connsiteX0" fmla="*/ 62639 w 62638"/>
                  <a:gd name="connsiteY0" fmla="*/ 31319 h 62638"/>
                  <a:gd name="connsiteX1" fmla="*/ 31319 w 62638"/>
                  <a:gd name="connsiteY1" fmla="*/ 62639 h 62638"/>
                  <a:gd name="connsiteX2" fmla="*/ 0 w 62638"/>
                  <a:gd name="connsiteY2" fmla="*/ 31319 h 62638"/>
                  <a:gd name="connsiteX3" fmla="*/ 31319 w 62638"/>
                  <a:gd name="connsiteY3" fmla="*/ 0 h 62638"/>
                  <a:gd name="connsiteX4" fmla="*/ 62639 w 62638"/>
                  <a:gd name="connsiteY4" fmla="*/ 31319 h 62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8" h="62638">
                    <a:moveTo>
                      <a:pt x="62639" y="31319"/>
                    </a:moveTo>
                    <a:cubicBezTo>
                      <a:pt x="62639" y="48616"/>
                      <a:pt x="48616" y="62639"/>
                      <a:pt x="31319" y="62639"/>
                    </a:cubicBezTo>
                    <a:cubicBezTo>
                      <a:pt x="14022" y="62639"/>
                      <a:pt x="0" y="48616"/>
                      <a:pt x="0" y="31319"/>
                    </a:cubicBezTo>
                    <a:cubicBezTo>
                      <a:pt x="0" y="14022"/>
                      <a:pt x="14022" y="0"/>
                      <a:pt x="31319" y="0"/>
                    </a:cubicBezTo>
                    <a:cubicBezTo>
                      <a:pt x="48616" y="0"/>
                      <a:pt x="62639" y="14022"/>
                      <a:pt x="62639" y="31319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2" name="任意多边形 31">
                <a:extLst>
                  <a:ext uri="{FF2B5EF4-FFF2-40B4-BE49-F238E27FC236}">
                    <a16:creationId xmlns:a16="http://schemas.microsoft.com/office/drawing/2014/main" id="{8619EBC5-ABD4-EC46-B041-56869EFA64AD}"/>
                  </a:ext>
                </a:extLst>
              </p:cNvPr>
              <p:cNvSpPr/>
              <p:nvPr/>
            </p:nvSpPr>
            <p:spPr>
              <a:xfrm rot="-4819714">
                <a:off x="10513868" y="4563067"/>
                <a:ext cx="62637" cy="62637"/>
              </a:xfrm>
              <a:custGeom>
                <a:avLst/>
                <a:gdLst>
                  <a:gd name="connsiteX0" fmla="*/ 62638 w 62637"/>
                  <a:gd name="connsiteY0" fmla="*/ 31319 h 62637"/>
                  <a:gd name="connsiteX1" fmla="*/ 31319 w 62637"/>
                  <a:gd name="connsiteY1" fmla="*/ 62638 h 62637"/>
                  <a:gd name="connsiteX2" fmla="*/ 0 w 62637"/>
                  <a:gd name="connsiteY2" fmla="*/ 31319 h 62637"/>
                  <a:gd name="connsiteX3" fmla="*/ 31319 w 62637"/>
                  <a:gd name="connsiteY3" fmla="*/ 0 h 62637"/>
                  <a:gd name="connsiteX4" fmla="*/ 62638 w 62637"/>
                  <a:gd name="connsiteY4" fmla="*/ 31319 h 62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7" h="62637">
                    <a:moveTo>
                      <a:pt x="62638" y="31319"/>
                    </a:moveTo>
                    <a:cubicBezTo>
                      <a:pt x="62638" y="48616"/>
                      <a:pt x="48616" y="62638"/>
                      <a:pt x="31319" y="62638"/>
                    </a:cubicBezTo>
                    <a:cubicBezTo>
                      <a:pt x="14022" y="62638"/>
                      <a:pt x="0" y="48616"/>
                      <a:pt x="0" y="31319"/>
                    </a:cubicBezTo>
                    <a:cubicBezTo>
                      <a:pt x="0" y="14022"/>
                      <a:pt x="14022" y="0"/>
                      <a:pt x="31319" y="0"/>
                    </a:cubicBezTo>
                    <a:cubicBezTo>
                      <a:pt x="48616" y="0"/>
                      <a:pt x="62638" y="14022"/>
                      <a:pt x="62638" y="31319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3" name="任意多边形 32">
                <a:extLst>
                  <a:ext uri="{FF2B5EF4-FFF2-40B4-BE49-F238E27FC236}">
                    <a16:creationId xmlns:a16="http://schemas.microsoft.com/office/drawing/2014/main" id="{7D7F9DC6-B0B5-0245-9996-234C19E1E26F}"/>
                  </a:ext>
                </a:extLst>
              </p:cNvPr>
              <p:cNvSpPr/>
              <p:nvPr/>
            </p:nvSpPr>
            <p:spPr>
              <a:xfrm rot="-4848650">
                <a:off x="10271850" y="4563068"/>
                <a:ext cx="62639" cy="62639"/>
              </a:xfrm>
              <a:custGeom>
                <a:avLst/>
                <a:gdLst>
                  <a:gd name="connsiteX0" fmla="*/ 62639 w 62639"/>
                  <a:gd name="connsiteY0" fmla="*/ 31320 h 62639"/>
                  <a:gd name="connsiteX1" fmla="*/ 31320 w 62639"/>
                  <a:gd name="connsiteY1" fmla="*/ 62639 h 62639"/>
                  <a:gd name="connsiteX2" fmla="*/ 0 w 62639"/>
                  <a:gd name="connsiteY2" fmla="*/ 31320 h 62639"/>
                  <a:gd name="connsiteX3" fmla="*/ 31320 w 62639"/>
                  <a:gd name="connsiteY3" fmla="*/ 0 h 62639"/>
                  <a:gd name="connsiteX4" fmla="*/ 62639 w 62639"/>
                  <a:gd name="connsiteY4" fmla="*/ 31320 h 6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9" h="62639">
                    <a:moveTo>
                      <a:pt x="62639" y="31320"/>
                    </a:moveTo>
                    <a:cubicBezTo>
                      <a:pt x="62639" y="48617"/>
                      <a:pt x="48617" y="62639"/>
                      <a:pt x="31320" y="62639"/>
                    </a:cubicBezTo>
                    <a:cubicBezTo>
                      <a:pt x="14022" y="62639"/>
                      <a:pt x="0" y="48617"/>
                      <a:pt x="0" y="31320"/>
                    </a:cubicBezTo>
                    <a:cubicBezTo>
                      <a:pt x="0" y="14022"/>
                      <a:pt x="14022" y="0"/>
                      <a:pt x="31320" y="0"/>
                    </a:cubicBezTo>
                    <a:cubicBezTo>
                      <a:pt x="48617" y="0"/>
                      <a:pt x="62639" y="14022"/>
                      <a:pt x="62639" y="31320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4" name="任意多边形 33">
                <a:extLst>
                  <a:ext uri="{FF2B5EF4-FFF2-40B4-BE49-F238E27FC236}">
                    <a16:creationId xmlns:a16="http://schemas.microsoft.com/office/drawing/2014/main" id="{CBDB0638-1370-EF4F-B34C-C7092CBEE69B}"/>
                  </a:ext>
                </a:extLst>
              </p:cNvPr>
              <p:cNvSpPr/>
              <p:nvPr/>
            </p:nvSpPr>
            <p:spPr>
              <a:xfrm rot="-4848650">
                <a:off x="10029812" y="4563088"/>
                <a:ext cx="62639" cy="62639"/>
              </a:xfrm>
              <a:custGeom>
                <a:avLst/>
                <a:gdLst>
                  <a:gd name="connsiteX0" fmla="*/ 62639 w 62639"/>
                  <a:gd name="connsiteY0" fmla="*/ 31320 h 62639"/>
                  <a:gd name="connsiteX1" fmla="*/ 31320 w 62639"/>
                  <a:gd name="connsiteY1" fmla="*/ 62639 h 62639"/>
                  <a:gd name="connsiteX2" fmla="*/ 0 w 62639"/>
                  <a:gd name="connsiteY2" fmla="*/ 31320 h 62639"/>
                  <a:gd name="connsiteX3" fmla="*/ 31320 w 62639"/>
                  <a:gd name="connsiteY3" fmla="*/ 0 h 62639"/>
                  <a:gd name="connsiteX4" fmla="*/ 62639 w 62639"/>
                  <a:gd name="connsiteY4" fmla="*/ 31320 h 6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9" h="62639">
                    <a:moveTo>
                      <a:pt x="62639" y="31320"/>
                    </a:moveTo>
                    <a:cubicBezTo>
                      <a:pt x="62639" y="48617"/>
                      <a:pt x="48617" y="62639"/>
                      <a:pt x="31320" y="62639"/>
                    </a:cubicBezTo>
                    <a:cubicBezTo>
                      <a:pt x="14022" y="62639"/>
                      <a:pt x="0" y="48617"/>
                      <a:pt x="0" y="31320"/>
                    </a:cubicBezTo>
                    <a:cubicBezTo>
                      <a:pt x="0" y="14022"/>
                      <a:pt x="14022" y="0"/>
                      <a:pt x="31320" y="0"/>
                    </a:cubicBezTo>
                    <a:cubicBezTo>
                      <a:pt x="48617" y="0"/>
                      <a:pt x="62639" y="14022"/>
                      <a:pt x="62639" y="31320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5" name="任意多边形 34">
                <a:extLst>
                  <a:ext uri="{FF2B5EF4-FFF2-40B4-BE49-F238E27FC236}">
                    <a16:creationId xmlns:a16="http://schemas.microsoft.com/office/drawing/2014/main" id="{EFF235CD-A1D0-6E45-A594-7A7E6BFBE20F}"/>
                  </a:ext>
                </a:extLst>
              </p:cNvPr>
              <p:cNvSpPr/>
              <p:nvPr/>
            </p:nvSpPr>
            <p:spPr>
              <a:xfrm rot="-2365709">
                <a:off x="9787777" y="4563088"/>
                <a:ext cx="62635" cy="62635"/>
              </a:xfrm>
              <a:custGeom>
                <a:avLst/>
                <a:gdLst>
                  <a:gd name="connsiteX0" fmla="*/ 62636 w 62635"/>
                  <a:gd name="connsiteY0" fmla="*/ 31318 h 62635"/>
                  <a:gd name="connsiteX1" fmla="*/ 31318 w 62635"/>
                  <a:gd name="connsiteY1" fmla="*/ 62636 h 62635"/>
                  <a:gd name="connsiteX2" fmla="*/ 0 w 62635"/>
                  <a:gd name="connsiteY2" fmla="*/ 31318 h 62635"/>
                  <a:gd name="connsiteX3" fmla="*/ 31318 w 62635"/>
                  <a:gd name="connsiteY3" fmla="*/ 0 h 62635"/>
                  <a:gd name="connsiteX4" fmla="*/ 62636 w 62635"/>
                  <a:gd name="connsiteY4" fmla="*/ 31318 h 62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5" h="62635">
                    <a:moveTo>
                      <a:pt x="62636" y="31318"/>
                    </a:moveTo>
                    <a:cubicBezTo>
                      <a:pt x="62636" y="48614"/>
                      <a:pt x="48614" y="62636"/>
                      <a:pt x="31318" y="62636"/>
                    </a:cubicBezTo>
                    <a:cubicBezTo>
                      <a:pt x="14021" y="62636"/>
                      <a:pt x="0" y="48614"/>
                      <a:pt x="0" y="31318"/>
                    </a:cubicBezTo>
                    <a:cubicBezTo>
                      <a:pt x="0" y="14021"/>
                      <a:pt x="14021" y="0"/>
                      <a:pt x="31318" y="0"/>
                    </a:cubicBezTo>
                    <a:cubicBezTo>
                      <a:pt x="48614" y="0"/>
                      <a:pt x="62636" y="14021"/>
                      <a:pt x="62636" y="31318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6" name="任意多边形 35">
                <a:extLst>
                  <a:ext uri="{FF2B5EF4-FFF2-40B4-BE49-F238E27FC236}">
                    <a16:creationId xmlns:a16="http://schemas.microsoft.com/office/drawing/2014/main" id="{A2CD93EB-DE12-2B40-A17A-C3C7CCE840CB}"/>
                  </a:ext>
                </a:extLst>
              </p:cNvPr>
              <p:cNvSpPr/>
              <p:nvPr/>
            </p:nvSpPr>
            <p:spPr>
              <a:xfrm rot="-4606435">
                <a:off x="9545737" y="4563098"/>
                <a:ext cx="62638" cy="62638"/>
              </a:xfrm>
              <a:custGeom>
                <a:avLst/>
                <a:gdLst>
                  <a:gd name="connsiteX0" fmla="*/ 62639 w 62638"/>
                  <a:gd name="connsiteY0" fmla="*/ 31319 h 62638"/>
                  <a:gd name="connsiteX1" fmla="*/ 31319 w 62638"/>
                  <a:gd name="connsiteY1" fmla="*/ 62639 h 62638"/>
                  <a:gd name="connsiteX2" fmla="*/ 0 w 62638"/>
                  <a:gd name="connsiteY2" fmla="*/ 31319 h 62638"/>
                  <a:gd name="connsiteX3" fmla="*/ 31319 w 62638"/>
                  <a:gd name="connsiteY3" fmla="*/ 0 h 62638"/>
                  <a:gd name="connsiteX4" fmla="*/ 62639 w 62638"/>
                  <a:gd name="connsiteY4" fmla="*/ 31319 h 62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8" h="62638">
                    <a:moveTo>
                      <a:pt x="62639" y="31319"/>
                    </a:moveTo>
                    <a:cubicBezTo>
                      <a:pt x="62639" y="48616"/>
                      <a:pt x="48616" y="62639"/>
                      <a:pt x="31319" y="62639"/>
                    </a:cubicBezTo>
                    <a:cubicBezTo>
                      <a:pt x="14022" y="62639"/>
                      <a:pt x="0" y="48616"/>
                      <a:pt x="0" y="31319"/>
                    </a:cubicBezTo>
                    <a:cubicBezTo>
                      <a:pt x="0" y="14022"/>
                      <a:pt x="14022" y="0"/>
                      <a:pt x="31319" y="0"/>
                    </a:cubicBezTo>
                    <a:cubicBezTo>
                      <a:pt x="48616" y="0"/>
                      <a:pt x="62639" y="14022"/>
                      <a:pt x="62639" y="31319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57" name="任意多边形 36">
                <a:extLst>
                  <a:ext uri="{FF2B5EF4-FFF2-40B4-BE49-F238E27FC236}">
                    <a16:creationId xmlns:a16="http://schemas.microsoft.com/office/drawing/2014/main" id="{D01A11DD-A44B-8D4A-81E2-36F1EBFF32F1}"/>
                  </a:ext>
                </a:extLst>
              </p:cNvPr>
              <p:cNvSpPr/>
              <p:nvPr/>
            </p:nvSpPr>
            <p:spPr>
              <a:xfrm rot="-4879621">
                <a:off x="9303701" y="4563119"/>
                <a:ext cx="62639" cy="62639"/>
              </a:xfrm>
              <a:custGeom>
                <a:avLst/>
                <a:gdLst>
                  <a:gd name="connsiteX0" fmla="*/ 62639 w 62639"/>
                  <a:gd name="connsiteY0" fmla="*/ 31320 h 62639"/>
                  <a:gd name="connsiteX1" fmla="*/ 31320 w 62639"/>
                  <a:gd name="connsiteY1" fmla="*/ 62639 h 62639"/>
                  <a:gd name="connsiteX2" fmla="*/ 0 w 62639"/>
                  <a:gd name="connsiteY2" fmla="*/ 31320 h 62639"/>
                  <a:gd name="connsiteX3" fmla="*/ 31320 w 62639"/>
                  <a:gd name="connsiteY3" fmla="*/ 0 h 62639"/>
                  <a:gd name="connsiteX4" fmla="*/ 62639 w 62639"/>
                  <a:gd name="connsiteY4" fmla="*/ 31320 h 6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39" h="62639">
                    <a:moveTo>
                      <a:pt x="62639" y="31320"/>
                    </a:moveTo>
                    <a:cubicBezTo>
                      <a:pt x="62639" y="48617"/>
                      <a:pt x="48617" y="62639"/>
                      <a:pt x="31320" y="62639"/>
                    </a:cubicBezTo>
                    <a:cubicBezTo>
                      <a:pt x="14022" y="62639"/>
                      <a:pt x="0" y="48617"/>
                      <a:pt x="0" y="31320"/>
                    </a:cubicBezTo>
                    <a:cubicBezTo>
                      <a:pt x="0" y="14022"/>
                      <a:pt x="14022" y="0"/>
                      <a:pt x="31320" y="0"/>
                    </a:cubicBezTo>
                    <a:cubicBezTo>
                      <a:pt x="48617" y="0"/>
                      <a:pt x="62639" y="14022"/>
                      <a:pt x="62639" y="31320"/>
                    </a:cubicBezTo>
                    <a:close/>
                  </a:path>
                </a:pathLst>
              </a:custGeom>
              <a:grpFill/>
              <a:ln w="32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1" name="组合 69">
              <a:extLst>
                <a:ext uri="{FF2B5EF4-FFF2-40B4-BE49-F238E27FC236}">
                  <a16:creationId xmlns:a16="http://schemas.microsoft.com/office/drawing/2014/main" id="{7D45A0A8-D2CE-BA43-912C-A5AFA2AFEE3C}"/>
                </a:ext>
              </a:extLst>
            </p:cNvPr>
            <p:cNvGrpSpPr/>
            <p:nvPr/>
          </p:nvGrpSpPr>
          <p:grpSpPr>
            <a:xfrm>
              <a:off x="1139721" y="2365132"/>
              <a:ext cx="9912558" cy="4394139"/>
              <a:chOff x="1606342" y="2365132"/>
              <a:chExt cx="9912558" cy="4394139"/>
            </a:xfrm>
          </p:grpSpPr>
          <p:grpSp>
            <p:nvGrpSpPr>
              <p:cNvPr id="12" name="组合 54">
                <a:extLst>
                  <a:ext uri="{FF2B5EF4-FFF2-40B4-BE49-F238E27FC236}">
                    <a16:creationId xmlns:a16="http://schemas.microsoft.com/office/drawing/2014/main" id="{B27D7AD4-D435-F146-B2DA-4AF2508C12D0}"/>
                  </a:ext>
                </a:extLst>
              </p:cNvPr>
              <p:cNvGrpSpPr/>
              <p:nvPr/>
            </p:nvGrpSpPr>
            <p:grpSpPr>
              <a:xfrm>
                <a:off x="8320426" y="2365132"/>
                <a:ext cx="3198474" cy="4394139"/>
                <a:chOff x="8320426" y="2071450"/>
                <a:chExt cx="3198474" cy="4394139"/>
              </a:xfrm>
            </p:grpSpPr>
            <p:grpSp>
              <p:nvGrpSpPr>
                <p:cNvPr id="25" name="组合 43">
                  <a:extLst>
                    <a:ext uri="{FF2B5EF4-FFF2-40B4-BE49-F238E27FC236}">
                      <a16:creationId xmlns:a16="http://schemas.microsoft.com/office/drawing/2014/main" id="{B749C4D2-9674-D840-97BF-3E14306F1CB2}"/>
                    </a:ext>
                  </a:extLst>
                </p:cNvPr>
                <p:cNvGrpSpPr/>
                <p:nvPr/>
              </p:nvGrpSpPr>
              <p:grpSpPr>
                <a:xfrm>
                  <a:off x="8457547" y="2394896"/>
                  <a:ext cx="3061353" cy="4070693"/>
                  <a:chOff x="8457547" y="2394896"/>
                  <a:chExt cx="3061353" cy="4070693"/>
                </a:xfrm>
              </p:grpSpPr>
              <p:sp>
                <p:nvSpPr>
                  <p:cNvPr id="27" name="矩形 37">
                    <a:extLst>
                      <a:ext uri="{FF2B5EF4-FFF2-40B4-BE49-F238E27FC236}">
                        <a16:creationId xmlns:a16="http://schemas.microsoft.com/office/drawing/2014/main" id="{7CECC415-603F-C34C-B2E8-DB6E223EDB69}"/>
                      </a:ext>
                    </a:extLst>
                  </p:cNvPr>
                  <p:cNvSpPr/>
                  <p:nvPr/>
                </p:nvSpPr>
                <p:spPr>
                  <a:xfrm>
                    <a:off x="8457547" y="2394896"/>
                    <a:ext cx="3061353" cy="4070693"/>
                  </a:xfrm>
                  <a:prstGeom prst="rect">
                    <a:avLst/>
                  </a:prstGeom>
                  <a:solidFill>
                    <a:schemeClr val="bg1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  <a:effectLst>
                    <a:outerShdw blurRad="254000" dist="127000" algn="ctr" rotWithShape="0">
                      <a:schemeClr val="tx1">
                        <a:lumMod val="50000"/>
                        <a:lumOff val="50000"/>
                        <a:alpha val="10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354"/>
                    <a:endParaRPr lang="en-GB" sz="2000" b="1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</a:endParaRPr>
                  </a:p>
                </p:txBody>
              </p:sp>
              <p:sp>
                <p:nvSpPr>
                  <p:cNvPr id="28" name="文本框 39">
                    <a:extLst>
                      <a:ext uri="{FF2B5EF4-FFF2-40B4-BE49-F238E27FC236}">
                        <a16:creationId xmlns:a16="http://schemas.microsoft.com/office/drawing/2014/main" id="{490A0AF6-5D22-CF43-8954-5C9E09A0A738}"/>
                      </a:ext>
                    </a:extLst>
                  </p:cNvPr>
                  <p:cNvSpPr txBox="1"/>
                  <p:nvPr/>
                </p:nvSpPr>
                <p:spPr>
                  <a:xfrm flipH="1">
                    <a:off x="8752987" y="3703293"/>
                    <a:ext cx="2517299" cy="135152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 marL="171450" indent="-171450">
                      <a:lnSpc>
                        <a:spcPct val="150000"/>
                      </a:lnSpc>
                      <a:buFont typeface="Arial" panose="020B0604020202020204" pitchFamily="34" charset="0"/>
                      <a:buChar char="•"/>
                    </a:pP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Discover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other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types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of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internet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data,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such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as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Amazon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purchases/searches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of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common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medical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items</a:t>
                    </a:r>
                    <a:endParaRPr lang="en-GB" altLang="zh-CN" sz="1400"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29" name="文本框 40">
                    <a:extLst>
                      <a:ext uri="{FF2B5EF4-FFF2-40B4-BE49-F238E27FC236}">
                        <a16:creationId xmlns:a16="http://schemas.microsoft.com/office/drawing/2014/main" id="{11A1DD5A-9CF2-6B43-AF8E-D056863F99E2}"/>
                      </a:ext>
                    </a:extLst>
                  </p:cNvPr>
                  <p:cNvSpPr txBox="1"/>
                  <p:nvPr/>
                </p:nvSpPr>
                <p:spPr>
                  <a:xfrm flipH="1">
                    <a:off x="8729573" y="3160852"/>
                    <a:ext cx="2517299" cy="461665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r>
                      <a:rPr lang="en-US" altLang="zh-CN" sz="2400" b="1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Future</a:t>
                    </a:r>
                    <a:r>
                      <a:rPr lang="zh-CN" altLang="en-US" sz="2400" b="1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2400" b="1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Work</a:t>
                    </a:r>
                    <a:endParaRPr lang="en-GB" altLang="zh-CN" sz="2400" b="1"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26" name="文本框 42">
                  <a:extLst>
                    <a:ext uri="{FF2B5EF4-FFF2-40B4-BE49-F238E27FC236}">
                      <a16:creationId xmlns:a16="http://schemas.microsoft.com/office/drawing/2014/main" id="{A8C81B88-203F-0748-B54E-B6E515A14431}"/>
                    </a:ext>
                  </a:extLst>
                </p:cNvPr>
                <p:cNvSpPr txBox="1"/>
                <p:nvPr/>
              </p:nvSpPr>
              <p:spPr>
                <a:xfrm>
                  <a:off x="8320426" y="2071450"/>
                  <a:ext cx="1326004" cy="132343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8000" b="1">
                      <a:solidFill>
                        <a:schemeClr val="tx1">
                          <a:lumMod val="50000"/>
                          <a:lumOff val="50000"/>
                          <a:alpha val="5000"/>
                        </a:schemeClr>
                      </a:solidFill>
                    </a:rPr>
                    <a:t>03</a:t>
                  </a:r>
                </a:p>
              </p:txBody>
            </p:sp>
          </p:grpSp>
          <p:grpSp>
            <p:nvGrpSpPr>
              <p:cNvPr id="13" name="组合 55">
                <a:extLst>
                  <a:ext uri="{FF2B5EF4-FFF2-40B4-BE49-F238E27FC236}">
                    <a16:creationId xmlns:a16="http://schemas.microsoft.com/office/drawing/2014/main" id="{9AE83BD0-30E2-C145-A0F0-D1C0A2484416}"/>
                  </a:ext>
                </a:extLst>
              </p:cNvPr>
              <p:cNvGrpSpPr/>
              <p:nvPr/>
            </p:nvGrpSpPr>
            <p:grpSpPr>
              <a:xfrm>
                <a:off x="4963384" y="2365132"/>
                <a:ext cx="3198474" cy="4394139"/>
                <a:chOff x="8320426" y="2071450"/>
                <a:chExt cx="3198474" cy="4394139"/>
              </a:xfrm>
            </p:grpSpPr>
            <p:grpSp>
              <p:nvGrpSpPr>
                <p:cNvPr id="20" name="组合 56">
                  <a:extLst>
                    <a:ext uri="{FF2B5EF4-FFF2-40B4-BE49-F238E27FC236}">
                      <a16:creationId xmlns:a16="http://schemas.microsoft.com/office/drawing/2014/main" id="{E0E6E969-5AA2-9B48-957A-BF997FF7F770}"/>
                    </a:ext>
                  </a:extLst>
                </p:cNvPr>
                <p:cNvGrpSpPr/>
                <p:nvPr/>
              </p:nvGrpSpPr>
              <p:grpSpPr>
                <a:xfrm>
                  <a:off x="8457547" y="2394896"/>
                  <a:ext cx="3061353" cy="4070693"/>
                  <a:chOff x="8457547" y="2394896"/>
                  <a:chExt cx="3061353" cy="4070693"/>
                </a:xfrm>
              </p:grpSpPr>
              <p:sp>
                <p:nvSpPr>
                  <p:cNvPr id="22" name="矩形 58">
                    <a:extLst>
                      <a:ext uri="{FF2B5EF4-FFF2-40B4-BE49-F238E27FC236}">
                        <a16:creationId xmlns:a16="http://schemas.microsoft.com/office/drawing/2014/main" id="{77C23C5B-202F-4044-B1F6-788C2633D285}"/>
                      </a:ext>
                    </a:extLst>
                  </p:cNvPr>
                  <p:cNvSpPr/>
                  <p:nvPr/>
                </p:nvSpPr>
                <p:spPr>
                  <a:xfrm>
                    <a:off x="8457547" y="2394896"/>
                    <a:ext cx="3061353" cy="4070693"/>
                  </a:xfrm>
                  <a:prstGeom prst="rect">
                    <a:avLst/>
                  </a:prstGeom>
                  <a:solidFill>
                    <a:schemeClr val="bg1"/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  <a:effectLst>
                    <a:outerShdw blurRad="254000" dist="127000" algn="ctr" rotWithShape="0">
                      <a:schemeClr val="tx1">
                        <a:lumMod val="50000"/>
                        <a:lumOff val="50000"/>
                        <a:alpha val="10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354"/>
                    <a:endParaRPr lang="en-GB" sz="2000" b="1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</a:endParaRPr>
                  </a:p>
                </p:txBody>
              </p:sp>
              <p:sp>
                <p:nvSpPr>
                  <p:cNvPr id="23" name="文本框 59">
                    <a:extLst>
                      <a:ext uri="{FF2B5EF4-FFF2-40B4-BE49-F238E27FC236}">
                        <a16:creationId xmlns:a16="http://schemas.microsoft.com/office/drawing/2014/main" id="{A27B7238-BAE1-104A-8836-E6DECDAA13A7}"/>
                      </a:ext>
                    </a:extLst>
                  </p:cNvPr>
                  <p:cNvSpPr txBox="1"/>
                  <p:nvPr/>
                </p:nvSpPr>
                <p:spPr>
                  <a:xfrm flipH="1">
                    <a:off x="8726916" y="3703293"/>
                    <a:ext cx="2588175" cy="199785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 marL="285750" indent="-285750">
                      <a:lnSpc>
                        <a:spcPct val="150000"/>
                      </a:lnSpc>
                      <a:buFont typeface="Arial" panose="020B0604020202020204" pitchFamily="34" charset="0"/>
                      <a:buChar char="•"/>
                    </a:pP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Volume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of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existing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internet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data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is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way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beyond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our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capability,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very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possible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loss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of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uncaptured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information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in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our</a:t>
                    </a:r>
                    <a:r>
                      <a:rPr lang="zh-CN" altLang="en-US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approach</a:t>
                    </a:r>
                  </a:p>
                  <a:p>
                    <a:pPr marL="285750" indent="-285750">
                      <a:lnSpc>
                        <a:spcPct val="150000"/>
                      </a:lnSpc>
                      <a:buFont typeface="Arial" panose="020B0604020202020204" pitchFamily="34" charset="0"/>
                      <a:buChar char="•"/>
                    </a:pPr>
                    <a:endParaRPr lang="en-US" altLang="zh-CN" sz="1400"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24" name="文本框 60">
                    <a:extLst>
                      <a:ext uri="{FF2B5EF4-FFF2-40B4-BE49-F238E27FC236}">
                        <a16:creationId xmlns:a16="http://schemas.microsoft.com/office/drawing/2014/main" id="{98AF1FF7-0246-1345-A6A7-8B8A84C74B4F}"/>
                      </a:ext>
                    </a:extLst>
                  </p:cNvPr>
                  <p:cNvSpPr txBox="1"/>
                  <p:nvPr/>
                </p:nvSpPr>
                <p:spPr>
                  <a:xfrm flipH="1">
                    <a:off x="8726916" y="3168264"/>
                    <a:ext cx="2517299" cy="461665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r>
                      <a:rPr lang="en-US" altLang="zh-CN" sz="2400" b="1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Limitation</a:t>
                    </a:r>
                    <a:endParaRPr lang="en-GB" altLang="zh-CN" sz="2400" b="1"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21" name="文本框 57">
                  <a:extLst>
                    <a:ext uri="{FF2B5EF4-FFF2-40B4-BE49-F238E27FC236}">
                      <a16:creationId xmlns:a16="http://schemas.microsoft.com/office/drawing/2014/main" id="{6B8F2AB7-F289-4049-A6E4-4CFCAC4D2B3C}"/>
                    </a:ext>
                  </a:extLst>
                </p:cNvPr>
                <p:cNvSpPr txBox="1"/>
                <p:nvPr/>
              </p:nvSpPr>
              <p:spPr>
                <a:xfrm>
                  <a:off x="8320426" y="2071450"/>
                  <a:ext cx="1326004" cy="132343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8000" b="1">
                      <a:solidFill>
                        <a:schemeClr val="tx1">
                          <a:lumMod val="50000"/>
                          <a:lumOff val="50000"/>
                          <a:alpha val="5000"/>
                        </a:schemeClr>
                      </a:solidFill>
                    </a:rPr>
                    <a:t>02</a:t>
                  </a:r>
                </a:p>
              </p:txBody>
            </p:sp>
          </p:grpSp>
          <p:grpSp>
            <p:nvGrpSpPr>
              <p:cNvPr id="14" name="组合 62">
                <a:extLst>
                  <a:ext uri="{FF2B5EF4-FFF2-40B4-BE49-F238E27FC236}">
                    <a16:creationId xmlns:a16="http://schemas.microsoft.com/office/drawing/2014/main" id="{0AC05CE3-F9F0-A944-9190-75117CF01AFF}"/>
                  </a:ext>
                </a:extLst>
              </p:cNvPr>
              <p:cNvGrpSpPr/>
              <p:nvPr/>
            </p:nvGrpSpPr>
            <p:grpSpPr>
              <a:xfrm>
                <a:off x="1606342" y="2365132"/>
                <a:ext cx="3198474" cy="4394139"/>
                <a:chOff x="8320426" y="2071450"/>
                <a:chExt cx="3198474" cy="4394139"/>
              </a:xfrm>
            </p:grpSpPr>
            <p:grpSp>
              <p:nvGrpSpPr>
                <p:cNvPr id="15" name="组合 63">
                  <a:extLst>
                    <a:ext uri="{FF2B5EF4-FFF2-40B4-BE49-F238E27FC236}">
                      <a16:creationId xmlns:a16="http://schemas.microsoft.com/office/drawing/2014/main" id="{477FF2BD-EEF7-BE4F-849D-AE458D4BD059}"/>
                    </a:ext>
                  </a:extLst>
                </p:cNvPr>
                <p:cNvGrpSpPr/>
                <p:nvPr/>
              </p:nvGrpSpPr>
              <p:grpSpPr>
                <a:xfrm>
                  <a:off x="8457547" y="2394896"/>
                  <a:ext cx="3061353" cy="4070693"/>
                  <a:chOff x="8457547" y="2394896"/>
                  <a:chExt cx="3061353" cy="4070693"/>
                </a:xfrm>
              </p:grpSpPr>
              <p:sp>
                <p:nvSpPr>
                  <p:cNvPr id="17" name="矩形 65">
                    <a:extLst>
                      <a:ext uri="{FF2B5EF4-FFF2-40B4-BE49-F238E27FC236}">
                        <a16:creationId xmlns:a16="http://schemas.microsoft.com/office/drawing/2014/main" id="{B8ABE921-90C3-8E4C-95F8-08D5F4972615}"/>
                      </a:ext>
                    </a:extLst>
                  </p:cNvPr>
                  <p:cNvSpPr/>
                  <p:nvPr/>
                </p:nvSpPr>
                <p:spPr>
                  <a:xfrm>
                    <a:off x="8457547" y="2394896"/>
                    <a:ext cx="3061353" cy="4070693"/>
                  </a:xfrm>
                  <a:prstGeom prst="rect">
                    <a:avLst/>
                  </a:prstGeom>
                  <a:solidFill>
                    <a:schemeClr val="accent2">
                      <a:alpha val="64856"/>
                    </a:schemeClr>
                  </a:solidFill>
                  <a:ln w="12700" cap="rnd">
                    <a:noFill/>
                    <a:prstDash val="solid"/>
                    <a:round/>
                    <a:headEnd/>
                    <a:tailEnd/>
                  </a:ln>
                  <a:effectLst>
                    <a:outerShdw blurRad="254000" dist="127000" algn="ctr" rotWithShape="0">
                      <a:schemeClr val="accent5">
                        <a:alpha val="30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14354"/>
                    <a:endParaRPr lang="en-GB" sz="2000" b="1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18" name="文本框 66">
                    <a:extLst>
                      <a:ext uri="{FF2B5EF4-FFF2-40B4-BE49-F238E27FC236}">
                        <a16:creationId xmlns:a16="http://schemas.microsoft.com/office/drawing/2014/main" id="{94DA8200-4770-E648-ADDC-4751EE657310}"/>
                      </a:ext>
                    </a:extLst>
                  </p:cNvPr>
                  <p:cNvSpPr txBox="1"/>
                  <p:nvPr/>
                </p:nvSpPr>
                <p:spPr>
                  <a:xfrm flipH="1">
                    <a:off x="8625998" y="3629929"/>
                    <a:ext cx="2759351" cy="264418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 marL="171450" indent="-171450">
                      <a:lnSpc>
                        <a:spcPct val="150000"/>
                      </a:lnSpc>
                      <a:buFont typeface="Arial" panose="020B0604020202020204" pitchFamily="34" charset="0"/>
                      <a:buChar char="•"/>
                    </a:pPr>
                    <a:r>
                      <a:rPr lang="en-GB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Internet information helps greatly in COVID-19 prediction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,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GB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especially in short-term</a:t>
                    </a:r>
                  </a:p>
                  <a:p>
                    <a:pPr marL="171450" indent="-171450">
                      <a:lnSpc>
                        <a:spcPct val="150000"/>
                      </a:lnSpc>
                      <a:buFont typeface="Arial" panose="020B0604020202020204" pitchFamily="34" charset="0"/>
                      <a:buChar char="•"/>
                    </a:pP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Seemingly</a:t>
                    </a:r>
                    <a:r>
                      <a:rPr lang="en-GB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close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relations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doesn’t</a:t>
                    </a:r>
                    <a:r>
                      <a:rPr lang="en-GB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always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result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in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better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performance.</a:t>
                    </a:r>
                    <a:r>
                      <a:rPr lang="en-GB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</a:p>
                  <a:p>
                    <a:pPr marL="171450" indent="-171450">
                      <a:lnSpc>
                        <a:spcPct val="150000"/>
                      </a:lnSpc>
                      <a:buFont typeface="Arial" panose="020B0604020202020204" pitchFamily="34" charset="0"/>
                      <a:buChar char="•"/>
                    </a:pP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Combining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features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together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may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improve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prediction</a:t>
                    </a:r>
                    <a:r>
                      <a:rPr lang="zh-CN" altLang="en-US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</a:t>
                    </a:r>
                    <a:r>
                      <a:rPr lang="en-US" altLang="zh-CN" sz="140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accuracy</a:t>
                    </a:r>
                    <a:endParaRPr lang="en-GB" altLang="zh-CN" sz="140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19" name="文本框 67">
                    <a:extLst>
                      <a:ext uri="{FF2B5EF4-FFF2-40B4-BE49-F238E27FC236}">
                        <a16:creationId xmlns:a16="http://schemas.microsoft.com/office/drawing/2014/main" id="{131501EA-E338-E74A-92AE-AABD1D757781}"/>
                      </a:ext>
                    </a:extLst>
                  </p:cNvPr>
                  <p:cNvSpPr txBox="1"/>
                  <p:nvPr/>
                </p:nvSpPr>
                <p:spPr>
                  <a:xfrm flipH="1">
                    <a:off x="8729573" y="3164056"/>
                    <a:ext cx="2517299" cy="461665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sp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r>
                      <a:rPr lang="en-US" altLang="zh-CN" sz="2400" b="1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Conclusion</a:t>
                    </a:r>
                    <a:endParaRPr lang="en-GB" altLang="zh-CN" sz="2400" b="1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16" name="文本框 64">
                  <a:extLst>
                    <a:ext uri="{FF2B5EF4-FFF2-40B4-BE49-F238E27FC236}">
                      <a16:creationId xmlns:a16="http://schemas.microsoft.com/office/drawing/2014/main" id="{A039CB29-D923-1A47-9B83-C6973990550F}"/>
                    </a:ext>
                  </a:extLst>
                </p:cNvPr>
                <p:cNvSpPr txBox="1"/>
                <p:nvPr/>
              </p:nvSpPr>
              <p:spPr>
                <a:xfrm>
                  <a:off x="8320426" y="2071450"/>
                  <a:ext cx="1326004" cy="132343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8000" b="1">
                      <a:solidFill>
                        <a:srgbClr val="FFFFFF">
                          <a:alpha val="5000"/>
                        </a:srgbClr>
                      </a:solidFill>
                    </a:rPr>
                    <a:t>01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0961368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591F-D70E-CA48-867C-FCD0E7F4758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grpSp>
        <p:nvGrpSpPr>
          <p:cNvPr id="6" name="组合 6">
            <a:extLst>
              <a:ext uri="{FF2B5EF4-FFF2-40B4-BE49-F238E27FC236}">
                <a16:creationId xmlns:a16="http://schemas.microsoft.com/office/drawing/2014/main" id="{1C44C6CA-78A2-2047-8630-CBA30EFFC793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903870"/>
            <a:ext cx="11518900" cy="5050259"/>
            <a:chOff x="0" y="1204303"/>
            <a:chExt cx="11518900" cy="5050259"/>
          </a:xfrm>
        </p:grpSpPr>
        <p:grpSp>
          <p:nvGrpSpPr>
            <p:cNvPr id="8" name="组合 2">
              <a:extLst>
                <a:ext uri="{FF2B5EF4-FFF2-40B4-BE49-F238E27FC236}">
                  <a16:creationId xmlns:a16="http://schemas.microsoft.com/office/drawing/2014/main" id="{47DCE4D4-B2AE-A644-AB5E-5A0F5D5688C2}"/>
                </a:ext>
              </a:extLst>
            </p:cNvPr>
            <p:cNvGrpSpPr/>
            <p:nvPr/>
          </p:nvGrpSpPr>
          <p:grpSpPr>
            <a:xfrm>
              <a:off x="5969014" y="1204303"/>
              <a:ext cx="4113017" cy="923330"/>
              <a:chOff x="6607642" y="1347000"/>
              <a:chExt cx="4113017" cy="923330"/>
            </a:xfrm>
          </p:grpSpPr>
          <p:sp>
            <p:nvSpPr>
              <p:cNvPr id="27" name="文本框 3">
                <a:extLst>
                  <a:ext uri="{FF2B5EF4-FFF2-40B4-BE49-F238E27FC236}">
                    <a16:creationId xmlns:a16="http://schemas.microsoft.com/office/drawing/2014/main" id="{5F7C2EA5-C668-484A-A9A0-5CEED538E32D}"/>
                  </a:ext>
                </a:extLst>
              </p:cNvPr>
              <p:cNvSpPr txBox="1"/>
              <p:nvPr/>
            </p:nvSpPr>
            <p:spPr>
              <a:xfrm>
                <a:off x="7618231" y="1627316"/>
                <a:ext cx="310242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en-US" sz="1800">
                    <a:solidFill>
                      <a:srgbClr val="17636F"/>
                    </a:solidFill>
                  </a:rPr>
                  <a:t>Introduction</a:t>
                </a:r>
                <a:r>
                  <a:rPr lang="zh-CN" altLang="en-US" sz="1800">
                    <a:solidFill>
                      <a:srgbClr val="17636F"/>
                    </a:solidFill>
                  </a:rPr>
                  <a:t> </a:t>
                </a:r>
                <a:r>
                  <a:rPr lang="en-US" altLang="zh-CN" sz="1800">
                    <a:solidFill>
                      <a:srgbClr val="17636F"/>
                    </a:solidFill>
                  </a:rPr>
                  <a:t>&amp;</a:t>
                </a:r>
                <a:r>
                  <a:rPr lang="zh-CN" altLang="en-US" sz="1800">
                    <a:solidFill>
                      <a:srgbClr val="17636F"/>
                    </a:solidFill>
                  </a:rPr>
                  <a:t> </a:t>
                </a:r>
                <a:r>
                  <a:rPr lang="en-US" altLang="zh-CN" sz="1800">
                    <a:solidFill>
                      <a:srgbClr val="17636F"/>
                    </a:solidFill>
                  </a:rPr>
                  <a:t>Motivation</a:t>
                </a:r>
              </a:p>
            </p:txBody>
          </p:sp>
          <p:sp>
            <p:nvSpPr>
              <p:cNvPr id="29" name="文本框 5">
                <a:extLst>
                  <a:ext uri="{FF2B5EF4-FFF2-40B4-BE49-F238E27FC236}">
                    <a16:creationId xmlns:a16="http://schemas.microsoft.com/office/drawing/2014/main" id="{581AD457-4B5F-004B-85E6-9455CFA0491C}"/>
                  </a:ext>
                </a:extLst>
              </p:cNvPr>
              <p:cNvSpPr txBox="1"/>
              <p:nvPr/>
            </p:nvSpPr>
            <p:spPr>
              <a:xfrm>
                <a:off x="6607642" y="1347000"/>
                <a:ext cx="1389489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marR="0" lvl="0" indent="0" defTabSz="913765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 kumimoji="0" sz="6000" b="1" i="0" u="none" strike="noStrike" cap="none" spc="0" normalizeH="0" baseline="0">
                    <a:ln>
                      <a:noFill/>
                    </a:ln>
                    <a:solidFill>
                      <a:srgbClr val="FFFFFF">
                        <a:alpha val="90000"/>
                      </a:srgbClr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en-US" altLang="zh-CN" sz="5400">
                    <a:solidFill>
                      <a:srgbClr val="17636F">
                        <a:alpha val="80000"/>
                      </a:srgbClr>
                    </a:solidFill>
                  </a:rPr>
                  <a:t>O1</a:t>
                </a:r>
              </a:p>
            </p:txBody>
          </p:sp>
        </p:grpSp>
        <p:sp>
          <p:nvSpPr>
            <p:cNvPr id="9" name="矩形 19">
              <a:extLst>
                <a:ext uri="{FF2B5EF4-FFF2-40B4-BE49-F238E27FC236}">
                  <a16:creationId xmlns:a16="http://schemas.microsoft.com/office/drawing/2014/main" id="{D349A8A5-35C5-844A-A47A-0E62B88A8F94}"/>
                </a:ext>
              </a:extLst>
            </p:cNvPr>
            <p:cNvSpPr/>
            <p:nvPr/>
          </p:nvSpPr>
          <p:spPr>
            <a:xfrm>
              <a:off x="0" y="3470956"/>
              <a:ext cx="3676515" cy="1083914"/>
            </a:xfrm>
            <a:prstGeom prst="rect">
              <a:avLst/>
            </a:prstGeom>
            <a:solidFill>
              <a:srgbClr val="17636F">
                <a:alpha val="71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0" name="文本框 20">
              <a:extLst>
                <a:ext uri="{FF2B5EF4-FFF2-40B4-BE49-F238E27FC236}">
                  <a16:creationId xmlns:a16="http://schemas.microsoft.com/office/drawing/2014/main" id="{6BFBAE47-F520-0349-A4CE-D05107B7A017}"/>
                </a:ext>
              </a:extLst>
            </p:cNvPr>
            <p:cNvSpPr txBox="1"/>
            <p:nvPr/>
          </p:nvSpPr>
          <p:spPr>
            <a:xfrm>
              <a:off x="809172" y="2921168"/>
              <a:ext cx="471868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altLang="zh-CN" sz="60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CONTENTS</a:t>
              </a:r>
            </a:p>
          </p:txBody>
        </p:sp>
        <p:grpSp>
          <p:nvGrpSpPr>
            <p:cNvPr id="11" name="组合 21">
              <a:extLst>
                <a:ext uri="{FF2B5EF4-FFF2-40B4-BE49-F238E27FC236}">
                  <a16:creationId xmlns:a16="http://schemas.microsoft.com/office/drawing/2014/main" id="{B57C1FE6-0B42-8741-BA76-BC47D6E3624F}"/>
                </a:ext>
              </a:extLst>
            </p:cNvPr>
            <p:cNvGrpSpPr/>
            <p:nvPr/>
          </p:nvGrpSpPr>
          <p:grpSpPr>
            <a:xfrm>
              <a:off x="5969014" y="2236035"/>
              <a:ext cx="5549886" cy="923330"/>
              <a:chOff x="6607642" y="1347000"/>
              <a:chExt cx="5549886" cy="923330"/>
            </a:xfrm>
          </p:grpSpPr>
          <p:sp>
            <p:nvSpPr>
              <p:cNvPr id="24" name="文本框 22">
                <a:extLst>
                  <a:ext uri="{FF2B5EF4-FFF2-40B4-BE49-F238E27FC236}">
                    <a16:creationId xmlns:a16="http://schemas.microsoft.com/office/drawing/2014/main" id="{20C477BC-3EFD-454E-83D7-B247E37D1BF1}"/>
                  </a:ext>
                </a:extLst>
              </p:cNvPr>
              <p:cNvSpPr txBox="1"/>
              <p:nvPr/>
            </p:nvSpPr>
            <p:spPr>
              <a:xfrm>
                <a:off x="7645400" y="1537612"/>
                <a:ext cx="157838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en-US" altLang="zh-CN" sz="1800">
                    <a:solidFill>
                      <a:srgbClr val="17636F"/>
                    </a:solidFill>
                  </a:rPr>
                  <a:t>Data</a:t>
                </a:r>
              </a:p>
            </p:txBody>
          </p:sp>
          <p:sp>
            <p:nvSpPr>
              <p:cNvPr id="25" name="文本框 23">
                <a:extLst>
                  <a:ext uri="{FF2B5EF4-FFF2-40B4-BE49-F238E27FC236}">
                    <a16:creationId xmlns:a16="http://schemas.microsoft.com/office/drawing/2014/main" id="{3B492FF4-699F-8E47-8F9A-DF221F6E1424}"/>
                  </a:ext>
                </a:extLst>
              </p:cNvPr>
              <p:cNvSpPr txBox="1"/>
              <p:nvPr/>
            </p:nvSpPr>
            <p:spPr>
              <a:xfrm>
                <a:off x="7645400" y="1818988"/>
                <a:ext cx="4512128" cy="2743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50000"/>
                  </a:lnSpc>
                  <a:defRPr kumimoji="0" sz="900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</a:defRPr>
                </a:lvl1pPr>
              </a:lstStyle>
              <a:p>
                <a:pPr algn="l"/>
                <a:r>
                  <a:rPr lang="en-US" altLang="zh-CN"/>
                  <a:t>Tweet</a:t>
                </a:r>
                <a:r>
                  <a:rPr lang="zh-CN" altLang="en-US"/>
                  <a:t> </a:t>
                </a:r>
                <a:r>
                  <a:rPr lang="en-US" altLang="zh-CN"/>
                  <a:t>Data</a:t>
                </a:r>
                <a:r>
                  <a:rPr lang="zh-CN" altLang="en-US"/>
                  <a:t> </a:t>
                </a:r>
                <a:r>
                  <a:rPr lang="en-US" altLang="zh-CN"/>
                  <a:t>Collection,</a:t>
                </a:r>
                <a:r>
                  <a:rPr lang="zh-CN" altLang="en-US"/>
                  <a:t> </a:t>
                </a:r>
                <a:r>
                  <a:rPr lang="en-US" altLang="zh-CN"/>
                  <a:t>Other</a:t>
                </a:r>
                <a:r>
                  <a:rPr lang="zh-CN" altLang="en-US"/>
                  <a:t> </a:t>
                </a:r>
                <a:r>
                  <a:rPr lang="en-US" altLang="zh-CN"/>
                  <a:t>Data</a:t>
                </a:r>
                <a:r>
                  <a:rPr lang="zh-CN" altLang="en-US"/>
                  <a:t> </a:t>
                </a:r>
                <a:r>
                  <a:rPr lang="en-US" altLang="zh-CN"/>
                  <a:t>Sources</a:t>
                </a:r>
                <a:endParaRPr lang="en-US"/>
              </a:p>
            </p:txBody>
          </p:sp>
          <p:sp>
            <p:nvSpPr>
              <p:cNvPr id="26" name="文本框 24">
                <a:extLst>
                  <a:ext uri="{FF2B5EF4-FFF2-40B4-BE49-F238E27FC236}">
                    <a16:creationId xmlns:a16="http://schemas.microsoft.com/office/drawing/2014/main" id="{6488EDF4-86BA-4345-849A-8033C63C527F}"/>
                  </a:ext>
                </a:extLst>
              </p:cNvPr>
              <p:cNvSpPr txBox="1"/>
              <p:nvPr/>
            </p:nvSpPr>
            <p:spPr>
              <a:xfrm>
                <a:off x="6607642" y="1347000"/>
                <a:ext cx="1389489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marR="0" lvl="0" indent="0" defTabSz="913765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 kumimoji="0" sz="6000" b="1" i="0" u="none" strike="noStrike" cap="none" spc="0" normalizeH="0" baseline="0">
                    <a:ln>
                      <a:noFill/>
                    </a:ln>
                    <a:solidFill>
                      <a:srgbClr val="FFFFFF">
                        <a:alpha val="90000"/>
                      </a:srgbClr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en-US" altLang="zh-CN" sz="5400">
                    <a:solidFill>
                      <a:srgbClr val="17636F">
                        <a:alpha val="80000"/>
                      </a:srgbClr>
                    </a:solidFill>
                  </a:rPr>
                  <a:t>O2</a:t>
                </a:r>
              </a:p>
            </p:txBody>
          </p:sp>
        </p:grpSp>
        <p:grpSp>
          <p:nvGrpSpPr>
            <p:cNvPr id="12" name="组合 25">
              <a:extLst>
                <a:ext uri="{FF2B5EF4-FFF2-40B4-BE49-F238E27FC236}">
                  <a16:creationId xmlns:a16="http://schemas.microsoft.com/office/drawing/2014/main" id="{C33B6D0E-170D-A743-ABE2-BB0CDB5DC1B0}"/>
                </a:ext>
              </a:extLst>
            </p:cNvPr>
            <p:cNvGrpSpPr/>
            <p:nvPr/>
          </p:nvGrpSpPr>
          <p:grpSpPr>
            <a:xfrm>
              <a:off x="5969014" y="3267767"/>
              <a:ext cx="5549886" cy="923330"/>
              <a:chOff x="6607642" y="1347000"/>
              <a:chExt cx="5549886" cy="923330"/>
            </a:xfrm>
          </p:grpSpPr>
          <p:sp>
            <p:nvSpPr>
              <p:cNvPr id="21" name="文本框 26">
                <a:extLst>
                  <a:ext uri="{FF2B5EF4-FFF2-40B4-BE49-F238E27FC236}">
                    <a16:creationId xmlns:a16="http://schemas.microsoft.com/office/drawing/2014/main" id="{5CCB25D7-6991-7048-9E35-0A8FA4246D0F}"/>
                  </a:ext>
                </a:extLst>
              </p:cNvPr>
              <p:cNvSpPr txBox="1"/>
              <p:nvPr/>
            </p:nvSpPr>
            <p:spPr>
              <a:xfrm>
                <a:off x="7645400" y="1537612"/>
                <a:ext cx="1578383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en-US" altLang="zh-CN" sz="2000">
                    <a:solidFill>
                      <a:srgbClr val="17636F"/>
                    </a:solidFill>
                  </a:rPr>
                  <a:t>Approach</a:t>
                </a:r>
              </a:p>
            </p:txBody>
          </p:sp>
          <p:sp>
            <p:nvSpPr>
              <p:cNvPr id="22" name="文本框 27">
                <a:extLst>
                  <a:ext uri="{FF2B5EF4-FFF2-40B4-BE49-F238E27FC236}">
                    <a16:creationId xmlns:a16="http://schemas.microsoft.com/office/drawing/2014/main" id="{B3FA8120-BB74-A84B-A706-A2C14E43FF4D}"/>
                  </a:ext>
                </a:extLst>
              </p:cNvPr>
              <p:cNvSpPr txBox="1"/>
              <p:nvPr/>
            </p:nvSpPr>
            <p:spPr>
              <a:xfrm>
                <a:off x="7645400" y="1818988"/>
                <a:ext cx="4512128" cy="2743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50000"/>
                  </a:lnSpc>
                  <a:defRPr kumimoji="0" sz="900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</a:defRPr>
                </a:lvl1pPr>
              </a:lstStyle>
              <a:p>
                <a:pPr lvl="0" algn="l"/>
                <a:r>
                  <a:rPr lang="en-US" altLang="zh-CN"/>
                  <a:t>Overview,</a:t>
                </a:r>
                <a:r>
                  <a:rPr lang="zh-CN" altLang="en-US"/>
                  <a:t> </a:t>
                </a:r>
                <a:r>
                  <a:rPr lang="en-US" altLang="zh-CN"/>
                  <a:t>Tweet</a:t>
                </a:r>
                <a:r>
                  <a:rPr lang="zh-CN" altLang="en-US"/>
                  <a:t> </a:t>
                </a:r>
                <a:r>
                  <a:rPr lang="en-US" altLang="zh-CN"/>
                  <a:t>Feature</a:t>
                </a:r>
                <a:r>
                  <a:rPr lang="zh-CN" altLang="en-US"/>
                  <a:t> </a:t>
                </a:r>
                <a:r>
                  <a:rPr lang="en-US" altLang="zh-CN"/>
                  <a:t>Engineering-NLP,</a:t>
                </a:r>
                <a:r>
                  <a:rPr lang="zh-CN" altLang="en-US"/>
                  <a:t> </a:t>
                </a:r>
                <a:r>
                  <a:rPr lang="en-US" altLang="zh-CN"/>
                  <a:t>LSTM</a:t>
                </a:r>
                <a:endParaRPr lang="en-US"/>
              </a:p>
            </p:txBody>
          </p:sp>
          <p:sp>
            <p:nvSpPr>
              <p:cNvPr id="23" name="文本框 28">
                <a:extLst>
                  <a:ext uri="{FF2B5EF4-FFF2-40B4-BE49-F238E27FC236}">
                    <a16:creationId xmlns:a16="http://schemas.microsoft.com/office/drawing/2014/main" id="{F85D28EE-A6B7-B149-A131-425713D04B43}"/>
                  </a:ext>
                </a:extLst>
              </p:cNvPr>
              <p:cNvSpPr txBox="1"/>
              <p:nvPr/>
            </p:nvSpPr>
            <p:spPr>
              <a:xfrm>
                <a:off x="6607642" y="1347000"/>
                <a:ext cx="1389489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marR="0" lvl="0" indent="0" defTabSz="913765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 kumimoji="0" sz="6000" b="1" i="0" u="none" strike="noStrike" cap="none" spc="0" normalizeH="0" baseline="0">
                    <a:ln>
                      <a:noFill/>
                    </a:ln>
                    <a:solidFill>
                      <a:srgbClr val="FFFFFF">
                        <a:alpha val="90000"/>
                      </a:srgbClr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en-US" altLang="zh-CN" sz="5400">
                    <a:solidFill>
                      <a:srgbClr val="17636F">
                        <a:alpha val="80000"/>
                      </a:srgbClr>
                    </a:solidFill>
                  </a:rPr>
                  <a:t>O3</a:t>
                </a:r>
              </a:p>
            </p:txBody>
          </p:sp>
        </p:grpSp>
        <p:grpSp>
          <p:nvGrpSpPr>
            <p:cNvPr id="13" name="组合 29">
              <a:extLst>
                <a:ext uri="{FF2B5EF4-FFF2-40B4-BE49-F238E27FC236}">
                  <a16:creationId xmlns:a16="http://schemas.microsoft.com/office/drawing/2014/main" id="{74743E1E-7CF5-C34E-B9B0-23FEC7E45826}"/>
                </a:ext>
              </a:extLst>
            </p:cNvPr>
            <p:cNvGrpSpPr/>
            <p:nvPr/>
          </p:nvGrpSpPr>
          <p:grpSpPr>
            <a:xfrm>
              <a:off x="5969014" y="4299499"/>
              <a:ext cx="5549886" cy="923330"/>
              <a:chOff x="6607642" y="1347000"/>
              <a:chExt cx="5549886" cy="923330"/>
            </a:xfrm>
          </p:grpSpPr>
          <p:sp>
            <p:nvSpPr>
              <p:cNvPr id="18" name="文本框 30">
                <a:extLst>
                  <a:ext uri="{FF2B5EF4-FFF2-40B4-BE49-F238E27FC236}">
                    <a16:creationId xmlns:a16="http://schemas.microsoft.com/office/drawing/2014/main" id="{4D4D67E9-2AFD-7E4A-A3B0-380B8A2904F6}"/>
                  </a:ext>
                </a:extLst>
              </p:cNvPr>
              <p:cNvSpPr txBox="1"/>
              <p:nvPr/>
            </p:nvSpPr>
            <p:spPr>
              <a:xfrm>
                <a:off x="7645400" y="1537612"/>
                <a:ext cx="326752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en-US" altLang="zh-CN" sz="1800">
                    <a:solidFill>
                      <a:srgbClr val="17636F"/>
                    </a:solidFill>
                  </a:rPr>
                  <a:t>Experiment</a:t>
                </a:r>
                <a:r>
                  <a:rPr lang="zh-CN" altLang="en-US" sz="1800">
                    <a:solidFill>
                      <a:srgbClr val="17636F"/>
                    </a:solidFill>
                  </a:rPr>
                  <a:t> </a:t>
                </a:r>
                <a:r>
                  <a:rPr lang="en-US" altLang="zh-CN" sz="1800">
                    <a:solidFill>
                      <a:srgbClr val="17636F"/>
                    </a:solidFill>
                  </a:rPr>
                  <a:t>&amp;</a:t>
                </a:r>
                <a:r>
                  <a:rPr lang="zh-CN" altLang="en-US" sz="1800">
                    <a:solidFill>
                      <a:srgbClr val="17636F"/>
                    </a:solidFill>
                  </a:rPr>
                  <a:t> </a:t>
                </a:r>
                <a:r>
                  <a:rPr lang="en-US" altLang="zh-CN" sz="1800">
                    <a:solidFill>
                      <a:srgbClr val="17636F"/>
                    </a:solidFill>
                  </a:rPr>
                  <a:t>Results</a:t>
                </a:r>
              </a:p>
            </p:txBody>
          </p:sp>
          <p:sp>
            <p:nvSpPr>
              <p:cNvPr id="19" name="文本框 31">
                <a:extLst>
                  <a:ext uri="{FF2B5EF4-FFF2-40B4-BE49-F238E27FC236}">
                    <a16:creationId xmlns:a16="http://schemas.microsoft.com/office/drawing/2014/main" id="{2CDBA7A9-5E59-3F48-B23E-1FBDCB85323B}"/>
                  </a:ext>
                </a:extLst>
              </p:cNvPr>
              <p:cNvSpPr txBox="1"/>
              <p:nvPr/>
            </p:nvSpPr>
            <p:spPr>
              <a:xfrm>
                <a:off x="7645400" y="1818988"/>
                <a:ext cx="4512128" cy="2743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50000"/>
                  </a:lnSpc>
                  <a:defRPr kumimoji="0" sz="900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</a:defRPr>
                </a:lvl1pPr>
              </a:lstStyle>
              <a:p>
                <a:pPr algn="l"/>
                <a:r>
                  <a:rPr lang="en-US" altLang="zh-CN"/>
                  <a:t>LSTM</a:t>
                </a:r>
                <a:r>
                  <a:rPr lang="zh-CN" altLang="en-US"/>
                  <a:t> </a:t>
                </a:r>
                <a:r>
                  <a:rPr lang="en-US" altLang="zh-CN"/>
                  <a:t>Results,</a:t>
                </a:r>
                <a:r>
                  <a:rPr lang="zh-CN" altLang="en-US"/>
                  <a:t> </a:t>
                </a:r>
                <a:r>
                  <a:rPr lang="en-US" altLang="zh-CN"/>
                  <a:t>Feature</a:t>
                </a:r>
                <a:r>
                  <a:rPr lang="zh-CN" altLang="en-US"/>
                  <a:t> </a:t>
                </a:r>
                <a:r>
                  <a:rPr lang="en-US" altLang="zh-CN"/>
                  <a:t>Importance</a:t>
                </a:r>
                <a:endParaRPr lang="en-US"/>
              </a:p>
            </p:txBody>
          </p:sp>
          <p:sp>
            <p:nvSpPr>
              <p:cNvPr id="20" name="文本框 32">
                <a:extLst>
                  <a:ext uri="{FF2B5EF4-FFF2-40B4-BE49-F238E27FC236}">
                    <a16:creationId xmlns:a16="http://schemas.microsoft.com/office/drawing/2014/main" id="{462B7005-8DC4-A041-87A1-C3BF765D4351}"/>
                  </a:ext>
                </a:extLst>
              </p:cNvPr>
              <p:cNvSpPr txBox="1"/>
              <p:nvPr/>
            </p:nvSpPr>
            <p:spPr>
              <a:xfrm>
                <a:off x="6607642" y="1347000"/>
                <a:ext cx="1389489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marR="0" lvl="0" indent="0" defTabSz="913765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 kumimoji="0" sz="6000" b="1" i="0" u="none" strike="noStrike" cap="none" spc="0" normalizeH="0" baseline="0">
                    <a:ln>
                      <a:noFill/>
                    </a:ln>
                    <a:solidFill>
                      <a:srgbClr val="FFFFFF">
                        <a:alpha val="90000"/>
                      </a:srgbClr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en-US" altLang="zh-CN" sz="5400">
                    <a:solidFill>
                      <a:srgbClr val="17636F">
                        <a:alpha val="80000"/>
                      </a:srgbClr>
                    </a:solidFill>
                  </a:rPr>
                  <a:t>O4</a:t>
                </a:r>
              </a:p>
            </p:txBody>
          </p:sp>
        </p:grpSp>
        <p:grpSp>
          <p:nvGrpSpPr>
            <p:cNvPr id="14" name="组合 33">
              <a:extLst>
                <a:ext uri="{FF2B5EF4-FFF2-40B4-BE49-F238E27FC236}">
                  <a16:creationId xmlns:a16="http://schemas.microsoft.com/office/drawing/2014/main" id="{4B9B16EB-7980-5F49-B582-CC3CE26971CC}"/>
                </a:ext>
              </a:extLst>
            </p:cNvPr>
            <p:cNvGrpSpPr/>
            <p:nvPr/>
          </p:nvGrpSpPr>
          <p:grpSpPr>
            <a:xfrm>
              <a:off x="5969014" y="5331232"/>
              <a:ext cx="2616141" cy="923330"/>
              <a:chOff x="6607642" y="1347000"/>
              <a:chExt cx="2616141" cy="923330"/>
            </a:xfrm>
          </p:grpSpPr>
          <p:sp>
            <p:nvSpPr>
              <p:cNvPr id="15" name="文本框 34">
                <a:extLst>
                  <a:ext uri="{FF2B5EF4-FFF2-40B4-BE49-F238E27FC236}">
                    <a16:creationId xmlns:a16="http://schemas.microsoft.com/office/drawing/2014/main" id="{05A30676-F6E3-5C44-91A3-1A45A28D7B3D}"/>
                  </a:ext>
                </a:extLst>
              </p:cNvPr>
              <p:cNvSpPr txBox="1"/>
              <p:nvPr/>
            </p:nvSpPr>
            <p:spPr>
              <a:xfrm>
                <a:off x="7645400" y="1616784"/>
                <a:ext cx="157838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en-US" altLang="zh-CN" sz="1800">
                    <a:solidFill>
                      <a:srgbClr val="17636F"/>
                    </a:solidFill>
                  </a:rPr>
                  <a:t>Conclusion</a:t>
                </a:r>
              </a:p>
            </p:txBody>
          </p:sp>
          <p:sp>
            <p:nvSpPr>
              <p:cNvPr id="17" name="文本框 36">
                <a:extLst>
                  <a:ext uri="{FF2B5EF4-FFF2-40B4-BE49-F238E27FC236}">
                    <a16:creationId xmlns:a16="http://schemas.microsoft.com/office/drawing/2014/main" id="{78585DF1-1DB6-D145-86C8-EC7DDB273934}"/>
                  </a:ext>
                </a:extLst>
              </p:cNvPr>
              <p:cNvSpPr txBox="1"/>
              <p:nvPr/>
            </p:nvSpPr>
            <p:spPr>
              <a:xfrm>
                <a:off x="6607642" y="1347000"/>
                <a:ext cx="1389489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marR="0" lvl="0" indent="0" defTabSz="913765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25000"/>
                  <a:buFontTx/>
                  <a:buNone/>
                  <a:defRPr kumimoji="0" sz="6000" b="1" i="0" u="none" strike="noStrike" cap="none" spc="0" normalizeH="0" baseline="0">
                    <a:ln>
                      <a:noFill/>
                    </a:ln>
                    <a:solidFill>
                      <a:srgbClr val="FFFFFF">
                        <a:alpha val="90000"/>
                      </a:srgbClr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en-US" altLang="zh-CN" sz="5400">
                    <a:solidFill>
                      <a:srgbClr val="17636F">
                        <a:alpha val="80000"/>
                      </a:srgbClr>
                    </a:solidFill>
                  </a:rPr>
                  <a:t>O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500261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010805" y="1945884"/>
            <a:ext cx="7063014" cy="2085789"/>
          </a:xfrm>
        </p:spPr>
        <p:txBody>
          <a:bodyPr>
            <a:normAutofit/>
          </a:bodyPr>
          <a:lstStyle/>
          <a:p>
            <a:r>
              <a:rPr lang="en-US" altLang="zh-CN" sz="6000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</a:t>
            </a:r>
            <a:r>
              <a:rPr lang="zh-CN" altLang="en-US" sz="6000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altLang="zh-CN" sz="6000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&amp;</a:t>
            </a:r>
            <a:r>
              <a:rPr lang="zh-CN" altLang="en-US" sz="6000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altLang="zh-CN" sz="6000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</a:t>
            </a:r>
            <a:br>
              <a:rPr lang="en-US" altLang="zh-CN" sz="6000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en-US" altLang="zh-CN" sz="6000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ank</a:t>
            </a:r>
            <a:r>
              <a:rPr lang="zh-CN" altLang="en-US" sz="6000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altLang="zh-CN" sz="6000">
                <a:gradFill flip="none" rotWithShape="1">
                  <a:gsLst>
                    <a:gs pos="0">
                      <a:schemeClr val="accent2">
                        <a:lumMod val="20000"/>
                        <a:lumOff val="80000"/>
                      </a:schemeClr>
                    </a:gs>
                    <a:gs pos="50000">
                      <a:schemeClr val="bg1">
                        <a:shade val="67500"/>
                        <a:satMod val="115000"/>
                      </a:schemeClr>
                    </a:gs>
                    <a:gs pos="100000">
                      <a:schemeClr val="bg1">
                        <a:shade val="100000"/>
                        <a:satMod val="115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ou!</a:t>
            </a:r>
            <a:endParaRPr lang="zh-CN" altLang="en-US" sz="6000">
              <a:gradFill flip="none" rotWithShape="1">
                <a:gsLst>
                  <a:gs pos="0">
                    <a:schemeClr val="accent2">
                      <a:lumMod val="20000"/>
                      <a:lumOff val="80000"/>
                    </a:schemeClr>
                  </a:gs>
                  <a:gs pos="50000">
                    <a:schemeClr val="bg1">
                      <a:shade val="67500"/>
                      <a:satMod val="115000"/>
                    </a:schemeClr>
                  </a:gs>
                  <a:gs pos="100000">
                    <a:schemeClr val="bg1">
                      <a:shade val="100000"/>
                      <a:satMod val="11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956068" y="2143587"/>
            <a:ext cx="6403832" cy="1272550"/>
          </a:xfrm>
        </p:spPr>
        <p:txBody>
          <a:bodyPr anchor="ctr">
            <a:noAutofit/>
          </a:bodyPr>
          <a:lstStyle/>
          <a:p>
            <a:r>
              <a:rPr lang="en-US" altLang="zh-CN" sz="4000"/>
              <a:t>Introduction</a:t>
            </a:r>
            <a:r>
              <a:rPr lang="zh-CN" altLang="en-US" sz="4000"/>
              <a:t> </a:t>
            </a:r>
            <a:r>
              <a:rPr lang="en-US" altLang="zh-CN" sz="4000"/>
              <a:t>&amp;</a:t>
            </a:r>
            <a:r>
              <a:rPr lang="zh-CN" altLang="en-US" sz="4000"/>
              <a:t> </a:t>
            </a:r>
            <a:r>
              <a:rPr lang="en-US" altLang="zh-CN" sz="4000"/>
              <a:t>Motivation</a:t>
            </a:r>
            <a:endParaRPr lang="zh-CN" altLang="en-US" sz="400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291830" y="2056587"/>
            <a:ext cx="1664238" cy="14465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88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z="880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A6E5A0-1ED6-4453-B403-9B92761D3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0"/>
            <a:ext cx="10850563" cy="1028699"/>
          </a:xfrm>
        </p:spPr>
        <p:txBody>
          <a:bodyPr>
            <a:normAutofit/>
          </a:bodyPr>
          <a:lstStyle/>
          <a:p>
            <a:r>
              <a:rPr lang="zh-CN" altLang="en-US">
                <a:cs typeface="Arial"/>
              </a:rPr>
              <a:t>Introduction </a:t>
            </a:r>
            <a:r>
              <a:rPr lang="en-US" altLang="zh-CN">
                <a:cs typeface="Arial"/>
              </a:rPr>
              <a:t>–</a:t>
            </a:r>
            <a:r>
              <a:rPr lang="zh-CN" altLang="en-US">
                <a:cs typeface="Arial"/>
              </a:rPr>
              <a:t> C</a:t>
            </a:r>
            <a:r>
              <a:rPr lang="en-US" altLang="zh-CN">
                <a:cs typeface="Arial"/>
              </a:rPr>
              <a:t>O</a:t>
            </a:r>
            <a:r>
              <a:rPr lang="zh-CN" altLang="en-US">
                <a:cs typeface="Arial"/>
              </a:rPr>
              <a:t>VID19 </a:t>
            </a:r>
            <a:endParaRPr lang="zh-CN" altLang="en-US"/>
          </a:p>
        </p:txBody>
      </p:sp>
      <p:pic>
        <p:nvPicPr>
          <p:cNvPr id="7" name="图片 7" descr="图表, 直方图&#10;&#10;已自动生成说明">
            <a:extLst>
              <a:ext uri="{FF2B5EF4-FFF2-40B4-BE49-F238E27FC236}">
                <a16:creationId xmlns:a16="http://schemas.microsoft.com/office/drawing/2014/main" id="{6BF3EBBC-D6BC-4D67-AFD9-3820327ED1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490" y="1567490"/>
            <a:ext cx="9514786" cy="40600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B784CF6-4368-5E41-9786-0340F36BDDC7}"/>
              </a:ext>
            </a:extLst>
          </p:cNvPr>
          <p:cNvSpPr txBox="1"/>
          <p:nvPr/>
        </p:nvSpPr>
        <p:spPr>
          <a:xfrm>
            <a:off x="981173" y="1374771"/>
            <a:ext cx="654901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Global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data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WHO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as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December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n-US" altLang="zh-CN" sz="2000" baseline="30000"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US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907B47-4082-994C-ACA5-6DB0DFFF8CDE}"/>
              </a:ext>
            </a:extLst>
          </p:cNvPr>
          <p:cNvSpPr txBox="1"/>
          <p:nvPr/>
        </p:nvSpPr>
        <p:spPr>
          <a:xfrm>
            <a:off x="2990850" y="5991155"/>
            <a:ext cx="6210300" cy="400110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It’s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natural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idea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predict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COVID’s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future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development.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5DC396-B6F5-7B45-B73C-DC3BCF43EF85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01</a:t>
            </a:r>
            <a:endParaRPr lang="en-US" sz="14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422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A6E5A0-1ED6-4453-B403-9B92761D3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>
                <a:cs typeface="Arial"/>
              </a:rPr>
              <a:t>Motivation</a:t>
            </a:r>
            <a:r>
              <a:rPr lang="zh-CN" altLang="en-US">
                <a:cs typeface="Arial"/>
              </a:rPr>
              <a:t> </a:t>
            </a:r>
            <a:r>
              <a:rPr lang="en-US" altLang="zh-CN">
                <a:cs typeface="Arial"/>
              </a:rPr>
              <a:t>–</a:t>
            </a:r>
            <a:r>
              <a:rPr lang="zh-CN" altLang="en-US">
                <a:cs typeface="Arial"/>
              </a:rPr>
              <a:t> Why forecasting? </a:t>
            </a:r>
            <a:endParaRPr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B76D1D-B370-DB44-84C9-3AC23AA8FEA8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02</a:t>
            </a:r>
            <a:endParaRPr lang="en-US" sz="1400">
              <a:solidFill>
                <a:schemeClr val="accent2"/>
              </a:solidFill>
            </a:endParaRPr>
          </a:p>
        </p:txBody>
      </p:sp>
      <p:grpSp>
        <p:nvGrpSpPr>
          <p:cNvPr id="5" name="组合 3">
            <a:extLst>
              <a:ext uri="{FF2B5EF4-FFF2-40B4-BE49-F238E27FC236}">
                <a16:creationId xmlns:a16="http://schemas.microsoft.com/office/drawing/2014/main" id="{1D67BD88-1923-4F4F-BA8F-6252D4B4C0D6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4" y="1584639"/>
            <a:ext cx="10862395" cy="4174578"/>
            <a:chOff x="660398" y="1521139"/>
            <a:chExt cx="10862395" cy="4174578"/>
          </a:xfrm>
        </p:grpSpPr>
        <p:sp>
          <p:nvSpPr>
            <p:cNvPr id="6" name="文本框 7">
              <a:extLst>
                <a:ext uri="{FF2B5EF4-FFF2-40B4-BE49-F238E27FC236}">
                  <a16:creationId xmlns:a16="http://schemas.microsoft.com/office/drawing/2014/main" id="{612BCE95-90F1-D34B-A1F6-6D475FBF81FB}"/>
                </a:ext>
              </a:extLst>
            </p:cNvPr>
            <p:cNvSpPr txBox="1"/>
            <p:nvPr/>
          </p:nvSpPr>
          <p:spPr>
            <a:xfrm>
              <a:off x="726275" y="1521139"/>
              <a:ext cx="107394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600" b="1">
                  <a:latin typeface="Calibri" panose="020F0502020204030204" pitchFamily="34" charset="0"/>
                  <a:cs typeface="Calibri" panose="020F0502020204030204" pitchFamily="34" charset="0"/>
                </a:rPr>
                <a:t>COVID</a:t>
              </a:r>
              <a:r>
                <a:rPr lang="zh-CN" altLang="en-US" sz="3600" b="1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zh-CN" sz="3600" b="1">
                  <a:latin typeface="Calibri" panose="020F0502020204030204" pitchFamily="34" charset="0"/>
                  <a:cs typeface="Calibri" panose="020F0502020204030204" pitchFamily="34" charset="0"/>
                </a:rPr>
                <a:t>prediction</a:t>
              </a:r>
              <a:r>
                <a:rPr lang="zh-CN" altLang="en-US" sz="3600" b="1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zh-CN" sz="3600" b="1">
                  <a:latin typeface="Calibri" panose="020F0502020204030204" pitchFamily="34" charset="0"/>
                  <a:cs typeface="Calibri" panose="020F0502020204030204" pitchFamily="34" charset="0"/>
                </a:rPr>
                <a:t>can</a:t>
              </a:r>
              <a:r>
                <a:rPr lang="zh-CN" altLang="en-US" sz="3600" b="1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zh-CN" sz="3600" b="1">
                  <a:latin typeface="Calibri" panose="020F0502020204030204" pitchFamily="34" charset="0"/>
                  <a:cs typeface="Calibri" panose="020F0502020204030204" pitchFamily="34" charset="0"/>
                </a:rPr>
                <a:t>be</a:t>
              </a:r>
              <a:r>
                <a:rPr lang="zh-CN" altLang="en-US" sz="3600" b="1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zh-CN" sz="3600" b="1">
                  <a:latin typeface="Calibri" panose="020F0502020204030204" pitchFamily="34" charset="0"/>
                  <a:cs typeface="Calibri" panose="020F0502020204030204" pitchFamily="34" charset="0"/>
                </a:rPr>
                <a:t>very</a:t>
              </a:r>
              <a:r>
                <a:rPr lang="zh-CN" altLang="en-US" sz="3600" b="1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altLang="zh-CN" sz="3600" b="1">
                  <a:latin typeface="Calibri" panose="020F0502020204030204" pitchFamily="34" charset="0"/>
                  <a:cs typeface="Calibri" panose="020F0502020204030204" pitchFamily="34" charset="0"/>
                </a:rPr>
                <a:t>useful</a:t>
              </a:r>
              <a:r>
                <a:rPr lang="zh-CN" altLang="en-US" sz="3600" b="1">
                  <a:latin typeface="Calibri" panose="020F0502020204030204" pitchFamily="34" charset="0"/>
                  <a:cs typeface="Calibri" panose="020F0502020204030204" pitchFamily="34" charset="0"/>
                </a:rPr>
                <a:t>  </a:t>
              </a:r>
              <a:endParaRPr lang="en-GB" altLang="zh-CN" sz="36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7" name="组合 2">
              <a:extLst>
                <a:ext uri="{FF2B5EF4-FFF2-40B4-BE49-F238E27FC236}">
                  <a16:creationId xmlns:a16="http://schemas.microsoft.com/office/drawing/2014/main" id="{F4300D05-5897-2E4A-8E41-DF5A617B730C}"/>
                </a:ext>
              </a:extLst>
            </p:cNvPr>
            <p:cNvGrpSpPr/>
            <p:nvPr/>
          </p:nvGrpSpPr>
          <p:grpSpPr>
            <a:xfrm>
              <a:off x="660398" y="2405271"/>
              <a:ext cx="10862395" cy="3290446"/>
              <a:chOff x="660399" y="2405271"/>
              <a:chExt cx="10769186" cy="3290446"/>
            </a:xfrm>
          </p:grpSpPr>
          <p:grpSp>
            <p:nvGrpSpPr>
              <p:cNvPr id="8" name="组合 53">
                <a:extLst>
                  <a:ext uri="{FF2B5EF4-FFF2-40B4-BE49-F238E27FC236}">
                    <a16:creationId xmlns:a16="http://schemas.microsoft.com/office/drawing/2014/main" id="{66C2478F-8A66-5B4C-8699-6C31E40488D8}"/>
                  </a:ext>
                </a:extLst>
              </p:cNvPr>
              <p:cNvGrpSpPr/>
              <p:nvPr/>
            </p:nvGrpSpPr>
            <p:grpSpPr>
              <a:xfrm>
                <a:off x="660399" y="2405271"/>
                <a:ext cx="3431890" cy="3290446"/>
                <a:chOff x="660403" y="2570371"/>
                <a:chExt cx="2398949" cy="3290446"/>
              </a:xfrm>
            </p:grpSpPr>
            <p:sp>
              <p:nvSpPr>
                <p:cNvPr id="20" name="矩形 9">
                  <a:extLst>
                    <a:ext uri="{FF2B5EF4-FFF2-40B4-BE49-F238E27FC236}">
                      <a16:creationId xmlns:a16="http://schemas.microsoft.com/office/drawing/2014/main" id="{818888FD-8FA0-D54B-898D-0867642BD994}"/>
                    </a:ext>
                  </a:extLst>
                </p:cNvPr>
                <p:cNvSpPr/>
                <p:nvPr/>
              </p:nvSpPr>
              <p:spPr>
                <a:xfrm>
                  <a:off x="660403" y="2570372"/>
                  <a:ext cx="2398949" cy="820527"/>
                </a:xfrm>
                <a:prstGeom prst="rect">
                  <a:avLst/>
                </a:prstGeom>
                <a:pattFill prst="wdUpDiag">
                  <a:fgClr>
                    <a:schemeClr val="bg1">
                      <a:lumMod val="95000"/>
                    </a:schemeClr>
                  </a:fgClr>
                  <a:bgClr>
                    <a:schemeClr val="bg1"/>
                  </a:bgClr>
                </a:patt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360000"/>
                  <a:endParaRPr lang="en-GB" sz="2400" b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1" name="直接连接符 10">
                  <a:extLst>
                    <a:ext uri="{FF2B5EF4-FFF2-40B4-BE49-F238E27FC236}">
                      <a16:creationId xmlns:a16="http://schemas.microsoft.com/office/drawing/2014/main" id="{CBC1C53C-B11A-974C-9D70-46093E6246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1471" y="2570371"/>
                  <a:ext cx="2396812" cy="0"/>
                </a:xfrm>
                <a:prstGeom prst="line">
                  <a:avLst/>
                </a:prstGeom>
                <a:ln w="762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" name="文本框 11">
                  <a:extLst>
                    <a:ext uri="{FF2B5EF4-FFF2-40B4-BE49-F238E27FC236}">
                      <a16:creationId xmlns:a16="http://schemas.microsoft.com/office/drawing/2014/main" id="{7D093BE8-9F33-174E-93C5-BBCD8F25B94C}"/>
                    </a:ext>
                  </a:extLst>
                </p:cNvPr>
                <p:cNvSpPr txBox="1"/>
                <p:nvPr/>
              </p:nvSpPr>
              <p:spPr>
                <a:xfrm>
                  <a:off x="2566910" y="2657470"/>
                  <a:ext cx="456807" cy="64633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>
                  <a:defPPr>
                    <a:defRPr lang="zh-CN"/>
                  </a:defPPr>
                  <a:lvl1pPr algn="ctr">
                    <a:defRPr sz="6600" b="1" spc="-150">
                      <a:solidFill>
                        <a:schemeClr val="bg1"/>
                      </a:solidFill>
                    </a:defRPr>
                  </a:lvl1pPr>
                </a:lstStyle>
                <a:p>
                  <a:pPr algn="r"/>
                  <a:r>
                    <a:rPr lang="en-GB" sz="3600">
                      <a:solidFill>
                        <a:schemeClr val="tx1"/>
                      </a:solidFill>
                    </a:rPr>
                    <a:t>01</a:t>
                  </a:r>
                </a:p>
              </p:txBody>
            </p:sp>
            <p:sp>
              <p:nvSpPr>
                <p:cNvPr id="23" name="文本框 12">
                  <a:extLst>
                    <a:ext uri="{FF2B5EF4-FFF2-40B4-BE49-F238E27FC236}">
                      <a16:creationId xmlns:a16="http://schemas.microsoft.com/office/drawing/2014/main" id="{50D220D7-63C2-3B43-AAAD-04933DBAECAC}"/>
                    </a:ext>
                  </a:extLst>
                </p:cNvPr>
                <p:cNvSpPr txBox="1"/>
                <p:nvPr/>
              </p:nvSpPr>
              <p:spPr>
                <a:xfrm>
                  <a:off x="696452" y="3511904"/>
                  <a:ext cx="2361830" cy="954107"/>
                </a:xfrm>
                <a:prstGeom prst="rect">
                  <a:avLst/>
                </a:prstGeom>
                <a:noFill/>
              </p:spPr>
              <p:txBody>
                <a:bodyPr vert="horz" wrap="square" rtlCol="0" anchor="t">
                  <a:spAutoFit/>
                </a:bodyPr>
                <a:lstStyle/>
                <a:p>
                  <a:r>
                    <a:rPr lang="en-US" altLang="zh-CN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Respond</a:t>
                  </a:r>
                  <a:r>
                    <a:rPr lang="zh-CN" altLang="en-US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en-US" altLang="zh-CN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with</a:t>
                  </a:r>
                  <a:r>
                    <a:rPr lang="zh-CN" altLang="en-US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en-US" altLang="zh-CN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Appropriate</a:t>
                  </a:r>
                  <a:r>
                    <a:rPr lang="zh-CN" altLang="en-US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en-US" altLang="zh-CN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Policies</a:t>
                  </a:r>
                </a:p>
              </p:txBody>
            </p:sp>
            <p:sp>
              <p:nvSpPr>
                <p:cNvPr id="24" name="文本框 13">
                  <a:extLst>
                    <a:ext uri="{FF2B5EF4-FFF2-40B4-BE49-F238E27FC236}">
                      <a16:creationId xmlns:a16="http://schemas.microsoft.com/office/drawing/2014/main" id="{B075C41E-4252-2E46-8502-CC1A8567883F}"/>
                    </a:ext>
                  </a:extLst>
                </p:cNvPr>
                <p:cNvSpPr txBox="1"/>
                <p:nvPr/>
              </p:nvSpPr>
              <p:spPr>
                <a:xfrm>
                  <a:off x="661889" y="4342901"/>
                  <a:ext cx="2361828" cy="1517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71450" marR="0" lvl="0" indent="-171450" defTabSz="913765" rtl="0" eaLnBrk="1" fontAlgn="auto" latinLnBrk="0" hangingPunct="1">
                    <a:lnSpc>
                      <a:spcPct val="2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Arial" panose="020B0604020202020204" pitchFamily="34" charset="0"/>
                    <a:buChar char="•"/>
                    <a:defRPr/>
                  </a:pP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Public</a:t>
                  </a:r>
                  <a:r>
                    <a:rPr kumimoji="0" lang="zh-CN" altLang="en-US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health:</a:t>
                  </a:r>
                  <a:r>
                    <a:rPr kumimoji="0" lang="zh-CN" altLang="en-US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Mandatory</a:t>
                  </a:r>
                  <a:r>
                    <a:rPr kumimoji="0" lang="zh-CN" altLang="en-US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masks,</a:t>
                  </a:r>
                  <a:r>
                    <a:rPr kumimoji="0" lang="zh-CN" altLang="en-US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social</a:t>
                  </a:r>
                  <a:r>
                    <a:rPr kumimoji="0" lang="zh-CN" altLang="en-US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distancing,</a:t>
                  </a:r>
                  <a:r>
                    <a:rPr kumimoji="0" lang="zh-CN" altLang="en-US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curfews,</a:t>
                  </a:r>
                  <a:r>
                    <a:rPr kumimoji="0" lang="zh-CN" altLang="en-US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quarantine</a:t>
                  </a:r>
                </a:p>
                <a:p>
                  <a:pPr marL="171450" marR="0" lvl="0" indent="-171450" defTabSz="913765" rtl="0" eaLnBrk="1" fontAlgn="auto" latinLnBrk="0" hangingPunct="1">
                    <a:lnSpc>
                      <a:spcPct val="2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Arial" panose="020B0604020202020204" pitchFamily="34" charset="0"/>
                    <a:buChar char="•"/>
                    <a:defRPr/>
                  </a:pPr>
                  <a:r>
                    <a:rPr kumimoji="0" lang="zh-CN" altLang="en-US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en-US" altLang="zh-CN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Socioeconomic</a:t>
                  </a: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:</a:t>
                  </a:r>
                  <a:r>
                    <a:rPr kumimoji="0" lang="zh-CN" altLang="en-US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financial</a:t>
                  </a:r>
                  <a:r>
                    <a:rPr kumimoji="0" lang="zh-CN" altLang="en-US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aid</a:t>
                  </a:r>
                </a:p>
                <a:p>
                  <a:pPr marL="171450" marR="0" lvl="0" indent="-171450" defTabSz="913765" rtl="0" eaLnBrk="1" fontAlgn="auto" latinLnBrk="0" hangingPunct="1">
                    <a:lnSpc>
                      <a:spcPct val="2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CN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…</a:t>
                  </a:r>
                  <a:endParaRPr kumimoji="0" lang="en-GB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9" name="组合 54">
                <a:extLst>
                  <a:ext uri="{FF2B5EF4-FFF2-40B4-BE49-F238E27FC236}">
                    <a16:creationId xmlns:a16="http://schemas.microsoft.com/office/drawing/2014/main" id="{3843F28C-8BF4-2149-8672-F06404871EBD}"/>
                  </a:ext>
                </a:extLst>
              </p:cNvPr>
              <p:cNvGrpSpPr/>
              <p:nvPr/>
            </p:nvGrpSpPr>
            <p:grpSpPr>
              <a:xfrm>
                <a:off x="4329049" y="2405271"/>
                <a:ext cx="3439026" cy="2921114"/>
                <a:chOff x="660403" y="2570371"/>
                <a:chExt cx="2403937" cy="2921114"/>
              </a:xfrm>
            </p:grpSpPr>
            <p:sp>
              <p:nvSpPr>
                <p:cNvPr id="15" name="矩形 55">
                  <a:extLst>
                    <a:ext uri="{FF2B5EF4-FFF2-40B4-BE49-F238E27FC236}">
                      <a16:creationId xmlns:a16="http://schemas.microsoft.com/office/drawing/2014/main" id="{9FD47511-6423-584C-AFED-74A6CECDBC67}"/>
                    </a:ext>
                  </a:extLst>
                </p:cNvPr>
                <p:cNvSpPr/>
                <p:nvPr/>
              </p:nvSpPr>
              <p:spPr>
                <a:xfrm>
                  <a:off x="660403" y="2570372"/>
                  <a:ext cx="2398949" cy="820527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chemeClr val="tx1">
                      <a:alpha val="2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360000"/>
                  <a:endParaRPr lang="en-GB" sz="2400" b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6" name="直接连接符 56">
                  <a:extLst>
                    <a:ext uri="{FF2B5EF4-FFF2-40B4-BE49-F238E27FC236}">
                      <a16:creationId xmlns:a16="http://schemas.microsoft.com/office/drawing/2014/main" id="{556A0FD2-A2F9-9D48-B1AE-772F51BCF6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1471" y="2570371"/>
                  <a:ext cx="2396812" cy="0"/>
                </a:xfrm>
                <a:prstGeom prst="line">
                  <a:avLst/>
                </a:prstGeom>
                <a:ln w="76200">
                  <a:solidFill>
                    <a:srgbClr val="4040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文本框 57">
                  <a:extLst>
                    <a:ext uri="{FF2B5EF4-FFF2-40B4-BE49-F238E27FC236}">
                      <a16:creationId xmlns:a16="http://schemas.microsoft.com/office/drawing/2014/main" id="{C3B10795-A1E1-B34D-83D0-0B54028ABDF1}"/>
                    </a:ext>
                  </a:extLst>
                </p:cNvPr>
                <p:cNvSpPr txBox="1"/>
                <p:nvPr/>
              </p:nvSpPr>
              <p:spPr>
                <a:xfrm>
                  <a:off x="2566910" y="2657470"/>
                  <a:ext cx="456807" cy="64633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>
                  <a:defPPr>
                    <a:defRPr lang="zh-CN"/>
                  </a:defPPr>
                  <a:lvl1pPr algn="ctr">
                    <a:defRPr sz="6600" b="1" spc="-150">
                      <a:solidFill>
                        <a:schemeClr val="bg1"/>
                      </a:solidFill>
                    </a:defRPr>
                  </a:lvl1pPr>
                </a:lstStyle>
                <a:p>
                  <a:pPr algn="r"/>
                  <a:r>
                    <a:rPr lang="en-GB" sz="3600">
                      <a:solidFill>
                        <a:schemeClr val="tx1"/>
                      </a:solidFill>
                    </a:rPr>
                    <a:t>02</a:t>
                  </a:r>
                </a:p>
              </p:txBody>
            </p:sp>
            <p:sp>
              <p:nvSpPr>
                <p:cNvPr id="18" name="文本框 58">
                  <a:extLst>
                    <a:ext uri="{FF2B5EF4-FFF2-40B4-BE49-F238E27FC236}">
                      <a16:creationId xmlns:a16="http://schemas.microsoft.com/office/drawing/2014/main" id="{8CE62B1D-F462-A048-A611-97152C02A030}"/>
                    </a:ext>
                  </a:extLst>
                </p:cNvPr>
                <p:cNvSpPr txBox="1"/>
                <p:nvPr/>
              </p:nvSpPr>
              <p:spPr>
                <a:xfrm>
                  <a:off x="696452" y="3511904"/>
                  <a:ext cx="2361830" cy="954107"/>
                </a:xfrm>
                <a:prstGeom prst="rect">
                  <a:avLst/>
                </a:prstGeom>
                <a:noFill/>
              </p:spPr>
              <p:txBody>
                <a:bodyPr vert="horz" wrap="square" rtlCol="0" anchor="t">
                  <a:spAutoFit/>
                </a:bodyPr>
                <a:lstStyle/>
                <a:p>
                  <a:r>
                    <a:rPr lang="en-US" altLang="zh-CN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Allocate</a:t>
                  </a:r>
                  <a:r>
                    <a:rPr lang="zh-CN" altLang="en-US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en-US" altLang="zh-CN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Medical</a:t>
                  </a:r>
                  <a:r>
                    <a:rPr lang="zh-CN" altLang="en-US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en-US" altLang="zh-CN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Resources</a:t>
                  </a:r>
                </a:p>
              </p:txBody>
            </p:sp>
            <p:sp>
              <p:nvSpPr>
                <p:cNvPr id="19" name="文本框 59">
                  <a:extLst>
                    <a:ext uri="{FF2B5EF4-FFF2-40B4-BE49-F238E27FC236}">
                      <a16:creationId xmlns:a16="http://schemas.microsoft.com/office/drawing/2014/main" id="{AE81C0CE-27F9-8E45-95EE-FDCA9E10C45D}"/>
                    </a:ext>
                  </a:extLst>
                </p:cNvPr>
                <p:cNvSpPr txBox="1"/>
                <p:nvPr/>
              </p:nvSpPr>
              <p:spPr>
                <a:xfrm>
                  <a:off x="702512" y="4342901"/>
                  <a:ext cx="2361828" cy="114858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71450" marR="0" lvl="0" indent="-171450" defTabSz="913765" rtl="0" eaLnBrk="1" fontAlgn="auto" latinLnBrk="0" hangingPunct="1">
                    <a:lnSpc>
                      <a:spcPct val="2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CN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Ventilators,</a:t>
                  </a:r>
                  <a:r>
                    <a:rPr lang="zh-CN" altLang="en-US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en-US" altLang="zh-CN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ICU</a:t>
                  </a:r>
                  <a:r>
                    <a:rPr lang="zh-CN" altLang="en-US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en-US" altLang="zh-CN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beds</a:t>
                  </a:r>
                  <a:r>
                    <a:rPr kumimoji="0" lang="en-GB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endParaRPr lang="en-US" sz="120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  <a:p>
                  <a:pPr marL="171450" marR="0" lvl="0" indent="-171450" defTabSz="913765" rtl="0" eaLnBrk="1" fontAlgn="auto" latinLnBrk="0" hangingPunct="1">
                    <a:lnSpc>
                      <a:spcPct val="2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Arial" panose="020B0604020202020204" pitchFamily="34" charset="0"/>
                    <a:buChar char="•"/>
                    <a:defRPr/>
                  </a:pPr>
                  <a:r>
                    <a:rPr kumimoji="0" lang="en-US" altLang="zh-CN" sz="1200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 panose="020F0502020204030204" pitchFamily="34" charset="0"/>
                      <a:cs typeface="Calibri" panose="020F0502020204030204" pitchFamily="34" charset="0"/>
                    </a:rPr>
                    <a:t>Doctor</a:t>
                  </a:r>
                  <a:r>
                    <a:rPr lang="en-US" altLang="zh-CN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s,</a:t>
                  </a:r>
                  <a:r>
                    <a:rPr lang="zh-CN" altLang="en-US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en-US" altLang="zh-CN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nurses</a:t>
                  </a:r>
                  <a:endParaRPr kumimoji="0" lang="en-GB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  <a:p>
                  <a:pPr marL="171450" marR="0" lvl="0" indent="-171450" defTabSz="913765" rtl="0" eaLnBrk="1" fontAlgn="auto" latinLnBrk="0" hangingPunct="1">
                    <a:lnSpc>
                      <a:spcPct val="2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Arial" panose="020B0604020202020204" pitchFamily="34" charset="0"/>
                    <a:buChar char="•"/>
                    <a:defRPr/>
                  </a:pPr>
                  <a:r>
                    <a:rPr lang="en-GB" sz="1200">
                      <a:latin typeface="Calibri" panose="020F0502020204030204" pitchFamily="34" charset="0"/>
                      <a:cs typeface="Calibri" panose="020F0502020204030204" pitchFamily="34" charset="0"/>
                    </a:rPr>
                    <a:t>… …</a:t>
                  </a:r>
                  <a:endParaRPr kumimoji="0" lang="en-GB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10" name="组合 60">
                <a:extLst>
                  <a:ext uri="{FF2B5EF4-FFF2-40B4-BE49-F238E27FC236}">
                    <a16:creationId xmlns:a16="http://schemas.microsoft.com/office/drawing/2014/main" id="{EE275D1D-7E2F-044D-958B-F3E65E80240C}"/>
                  </a:ext>
                </a:extLst>
              </p:cNvPr>
              <p:cNvGrpSpPr/>
              <p:nvPr/>
            </p:nvGrpSpPr>
            <p:grpSpPr>
              <a:xfrm>
                <a:off x="7997695" y="2405271"/>
                <a:ext cx="3431890" cy="1464753"/>
                <a:chOff x="660403" y="2570371"/>
                <a:chExt cx="2398949" cy="1464753"/>
              </a:xfrm>
            </p:grpSpPr>
            <p:sp>
              <p:nvSpPr>
                <p:cNvPr id="11" name="矩形 61">
                  <a:extLst>
                    <a:ext uri="{FF2B5EF4-FFF2-40B4-BE49-F238E27FC236}">
                      <a16:creationId xmlns:a16="http://schemas.microsoft.com/office/drawing/2014/main" id="{F4D10AE0-2732-E545-9852-FC56996E416A}"/>
                    </a:ext>
                  </a:extLst>
                </p:cNvPr>
                <p:cNvSpPr/>
                <p:nvPr/>
              </p:nvSpPr>
              <p:spPr>
                <a:xfrm>
                  <a:off x="660403" y="2570372"/>
                  <a:ext cx="2398949" cy="820527"/>
                </a:xfrm>
                <a:prstGeom prst="rect">
                  <a:avLst/>
                </a:prstGeom>
                <a:pattFill prst="wdUpDiag">
                  <a:fgClr>
                    <a:schemeClr val="bg1">
                      <a:lumMod val="95000"/>
                    </a:schemeClr>
                  </a:fgClr>
                  <a:bgClr>
                    <a:schemeClr val="bg1"/>
                  </a:bgClr>
                </a:patt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360000"/>
                  <a:endParaRPr lang="en-GB" sz="2400" b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2" name="直接连接符 62">
                  <a:extLst>
                    <a:ext uri="{FF2B5EF4-FFF2-40B4-BE49-F238E27FC236}">
                      <a16:creationId xmlns:a16="http://schemas.microsoft.com/office/drawing/2014/main" id="{0C297D9F-8654-4045-AA20-03744EDA358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1471" y="2570371"/>
                  <a:ext cx="2396812" cy="0"/>
                </a:xfrm>
                <a:prstGeom prst="line">
                  <a:avLst/>
                </a:prstGeom>
                <a:ln w="762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" name="文本框 63">
                  <a:extLst>
                    <a:ext uri="{FF2B5EF4-FFF2-40B4-BE49-F238E27FC236}">
                      <a16:creationId xmlns:a16="http://schemas.microsoft.com/office/drawing/2014/main" id="{93BDA02D-1D2A-A547-8074-72829433596E}"/>
                    </a:ext>
                  </a:extLst>
                </p:cNvPr>
                <p:cNvSpPr txBox="1"/>
                <p:nvPr/>
              </p:nvSpPr>
              <p:spPr>
                <a:xfrm>
                  <a:off x="2566910" y="2657470"/>
                  <a:ext cx="456807" cy="64633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>
                  <a:defPPr>
                    <a:defRPr lang="zh-CN"/>
                  </a:defPPr>
                  <a:lvl1pPr algn="ctr">
                    <a:defRPr sz="6600" b="1" spc="-150">
                      <a:solidFill>
                        <a:schemeClr val="bg1"/>
                      </a:solidFill>
                    </a:defRPr>
                  </a:lvl1pPr>
                </a:lstStyle>
                <a:p>
                  <a:pPr algn="r"/>
                  <a:r>
                    <a:rPr lang="en-GB" sz="3600">
                      <a:solidFill>
                        <a:schemeClr val="tx1"/>
                      </a:solidFill>
                    </a:rPr>
                    <a:t>03</a:t>
                  </a:r>
                </a:p>
              </p:txBody>
            </p:sp>
            <p:sp>
              <p:nvSpPr>
                <p:cNvPr id="14" name="文本框 64">
                  <a:extLst>
                    <a:ext uri="{FF2B5EF4-FFF2-40B4-BE49-F238E27FC236}">
                      <a16:creationId xmlns:a16="http://schemas.microsoft.com/office/drawing/2014/main" id="{0322B5E5-7AA9-2E41-BB1F-89DC3845A6C4}"/>
                    </a:ext>
                  </a:extLst>
                </p:cNvPr>
                <p:cNvSpPr txBox="1"/>
                <p:nvPr/>
              </p:nvSpPr>
              <p:spPr>
                <a:xfrm>
                  <a:off x="696452" y="3511904"/>
                  <a:ext cx="2361830" cy="523220"/>
                </a:xfrm>
                <a:prstGeom prst="rect">
                  <a:avLst/>
                </a:prstGeom>
                <a:noFill/>
              </p:spPr>
              <p:txBody>
                <a:bodyPr vert="horz" wrap="square" rtlCol="0" anchor="t">
                  <a:spAutoFit/>
                </a:bodyPr>
                <a:lstStyle/>
                <a:p>
                  <a:r>
                    <a:rPr lang="en-US" altLang="zh-CN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Public</a:t>
                  </a:r>
                  <a:r>
                    <a:rPr lang="zh-CN" altLang="en-US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en-US" altLang="zh-CN" sz="2800" b="1">
                      <a:latin typeface="Calibri" panose="020F0502020204030204" pitchFamily="34" charset="0"/>
                      <a:cs typeface="Calibri" panose="020F0502020204030204" pitchFamily="34" charset="0"/>
                    </a:rPr>
                    <a:t>Awareness</a:t>
                  </a:r>
                </a:p>
              </p:txBody>
            </p:sp>
          </p:grpSp>
        </p:grpSp>
      </p:grpSp>
      <p:sp>
        <p:nvSpPr>
          <p:cNvPr id="25" name="iconfont-10799-5191686">
            <a:extLst>
              <a:ext uri="{FF2B5EF4-FFF2-40B4-BE49-F238E27FC236}">
                <a16:creationId xmlns:a16="http://schemas.microsoft.com/office/drawing/2014/main" id="{1CD3759F-8CA3-A648-B0E3-F5D1AB038CAA}"/>
              </a:ext>
            </a:extLst>
          </p:cNvPr>
          <p:cNvSpPr>
            <a:spLocks noChangeAspect="1"/>
          </p:cNvSpPr>
          <p:nvPr/>
        </p:nvSpPr>
        <p:spPr>
          <a:xfrm>
            <a:off x="876258" y="2589777"/>
            <a:ext cx="609685" cy="609525"/>
          </a:xfrm>
          <a:custGeom>
            <a:avLst/>
            <a:gdLst>
              <a:gd name="T0" fmla="*/ 5786 w 8004"/>
              <a:gd name="T1" fmla="*/ 3635 h 8000"/>
              <a:gd name="T2" fmla="*/ 6905 w 8004"/>
              <a:gd name="T3" fmla="*/ 4711 h 8000"/>
              <a:gd name="T4" fmla="*/ 6114 w 8004"/>
              <a:gd name="T5" fmla="*/ 7096 h 8000"/>
              <a:gd name="T6" fmla="*/ 4001 w 8004"/>
              <a:gd name="T7" fmla="*/ 7747 h 8000"/>
              <a:gd name="T8" fmla="*/ 1889 w 8004"/>
              <a:gd name="T9" fmla="*/ 7096 h 8000"/>
              <a:gd name="T10" fmla="*/ 1098 w 8004"/>
              <a:gd name="T11" fmla="*/ 4711 h 8000"/>
              <a:gd name="T12" fmla="*/ 2216 w 8004"/>
              <a:gd name="T13" fmla="*/ 3635 h 8000"/>
              <a:gd name="T14" fmla="*/ 4001 w 8004"/>
              <a:gd name="T15" fmla="*/ 3205 h 8000"/>
              <a:gd name="T16" fmla="*/ 4001 w 8004"/>
              <a:gd name="T17" fmla="*/ 8000 h 8000"/>
              <a:gd name="T18" fmla="*/ 4001 w 8004"/>
              <a:gd name="T19" fmla="*/ 3205 h 8000"/>
              <a:gd name="T20" fmla="*/ 496 w 8004"/>
              <a:gd name="T21" fmla="*/ 6421 h 8000"/>
              <a:gd name="T22" fmla="*/ 418 w 8004"/>
              <a:gd name="T23" fmla="*/ 1630 h 8000"/>
              <a:gd name="T24" fmla="*/ 1819 w 8004"/>
              <a:gd name="T25" fmla="*/ 100 h 8000"/>
              <a:gd name="T26" fmla="*/ 1695 w 8004"/>
              <a:gd name="T27" fmla="*/ 3733 h 8000"/>
              <a:gd name="T28" fmla="*/ 1513 w 8004"/>
              <a:gd name="T29" fmla="*/ 3778 h 8000"/>
              <a:gd name="T30" fmla="*/ 1676 w 8004"/>
              <a:gd name="T31" fmla="*/ 222 h 8000"/>
              <a:gd name="T32" fmla="*/ 598 w 8004"/>
              <a:gd name="T33" fmla="*/ 1683 h 8000"/>
              <a:gd name="T34" fmla="*/ 658 w 8004"/>
              <a:gd name="T35" fmla="*/ 6326 h 8000"/>
              <a:gd name="T36" fmla="*/ 1829 w 8004"/>
              <a:gd name="T37" fmla="*/ 7198 h 8000"/>
              <a:gd name="T38" fmla="*/ 6265 w 8004"/>
              <a:gd name="T39" fmla="*/ 7293 h 8000"/>
              <a:gd name="T40" fmla="*/ 6265 w 8004"/>
              <a:gd name="T41" fmla="*/ 7106 h 8000"/>
              <a:gd name="T42" fmla="*/ 7815 w 8004"/>
              <a:gd name="T43" fmla="*/ 4383 h 8000"/>
              <a:gd name="T44" fmla="*/ 6405 w 8004"/>
              <a:gd name="T45" fmla="*/ 187 h 8000"/>
              <a:gd name="T46" fmla="*/ 6380 w 8004"/>
              <a:gd name="T47" fmla="*/ 1848 h 8000"/>
              <a:gd name="T48" fmla="*/ 6375 w 8004"/>
              <a:gd name="T49" fmla="*/ 3847 h 8000"/>
              <a:gd name="T50" fmla="*/ 6195 w 8004"/>
              <a:gd name="T51" fmla="*/ 1876 h 8000"/>
              <a:gd name="T52" fmla="*/ 6405 w 8004"/>
              <a:gd name="T53" fmla="*/ 0 h 8000"/>
              <a:gd name="T54" fmla="*/ 8004 w 8004"/>
              <a:gd name="T55" fmla="*/ 4383 h 8000"/>
              <a:gd name="T56" fmla="*/ 6265 w 8004"/>
              <a:gd name="T57" fmla="*/ 7293 h 8000"/>
              <a:gd name="T58" fmla="*/ 3023 w 8004"/>
              <a:gd name="T59" fmla="*/ 5821 h 8000"/>
              <a:gd name="T60" fmla="*/ 3023 w 8004"/>
              <a:gd name="T61" fmla="*/ 5403 h 8000"/>
              <a:gd name="T62" fmla="*/ 5213 w 8004"/>
              <a:gd name="T63" fmla="*/ 5612 h 8000"/>
              <a:gd name="T64" fmla="*/ 5005 w 8004"/>
              <a:gd name="T65" fmla="*/ 5940 h 8000"/>
              <a:gd name="T66" fmla="*/ 2695 w 8004"/>
              <a:gd name="T67" fmla="*/ 5612 h 8000"/>
              <a:gd name="T68" fmla="*/ 5004 w 8004"/>
              <a:gd name="T69" fmla="*/ 5284 h 8000"/>
              <a:gd name="T70" fmla="*/ 5005 w 8004"/>
              <a:gd name="T71" fmla="*/ 5940 h 8000"/>
              <a:gd name="T72" fmla="*/ 2933 w 8004"/>
              <a:gd name="T73" fmla="*/ 5611 h 8000"/>
              <a:gd name="T74" fmla="*/ 5004 w 8004"/>
              <a:gd name="T75" fmla="*/ 5701 h 8000"/>
              <a:gd name="T76" fmla="*/ 5004 w 8004"/>
              <a:gd name="T77" fmla="*/ 5521 h 8000"/>
              <a:gd name="T78" fmla="*/ 4224 w 8004"/>
              <a:gd name="T79" fmla="*/ 4620 h 8000"/>
              <a:gd name="T80" fmla="*/ 4015 w 8004"/>
              <a:gd name="T81" fmla="*/ 6811 h 8000"/>
              <a:gd name="T82" fmla="*/ 3806 w 8004"/>
              <a:gd name="T83" fmla="*/ 4620 h 8000"/>
              <a:gd name="T84" fmla="*/ 4224 w 8004"/>
              <a:gd name="T85" fmla="*/ 4620 h 8000"/>
              <a:gd name="T86" fmla="*/ 3686 w 8004"/>
              <a:gd name="T87" fmla="*/ 6602 h 8000"/>
              <a:gd name="T88" fmla="*/ 4014 w 8004"/>
              <a:gd name="T89" fmla="*/ 4292 h 8000"/>
              <a:gd name="T90" fmla="*/ 4341 w 8004"/>
              <a:gd name="T91" fmla="*/ 6602 h 8000"/>
              <a:gd name="T92" fmla="*/ 4014 w 8004"/>
              <a:gd name="T93" fmla="*/ 4530 h 8000"/>
              <a:gd name="T94" fmla="*/ 3924 w 8004"/>
              <a:gd name="T95" fmla="*/ 6602 h 8000"/>
              <a:gd name="T96" fmla="*/ 4104 w 8004"/>
              <a:gd name="T97" fmla="*/ 6602 h 8000"/>
              <a:gd name="T98" fmla="*/ 4014 w 8004"/>
              <a:gd name="T99" fmla="*/ 4530 h 8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004" h="8000">
                <a:moveTo>
                  <a:pt x="4001" y="3455"/>
                </a:moveTo>
                <a:cubicBezTo>
                  <a:pt x="4754" y="3455"/>
                  <a:pt x="5338" y="3513"/>
                  <a:pt x="5786" y="3635"/>
                </a:cubicBezTo>
                <a:cubicBezTo>
                  <a:pt x="6166" y="3737"/>
                  <a:pt x="6438" y="3881"/>
                  <a:pt x="6618" y="4076"/>
                </a:cubicBezTo>
                <a:cubicBezTo>
                  <a:pt x="6766" y="4237"/>
                  <a:pt x="6858" y="4438"/>
                  <a:pt x="6905" y="4711"/>
                </a:cubicBezTo>
                <a:cubicBezTo>
                  <a:pt x="6951" y="4976"/>
                  <a:pt x="6951" y="5279"/>
                  <a:pt x="6951" y="5601"/>
                </a:cubicBezTo>
                <a:cubicBezTo>
                  <a:pt x="6951" y="6161"/>
                  <a:pt x="6654" y="6691"/>
                  <a:pt x="6114" y="7096"/>
                </a:cubicBezTo>
                <a:cubicBezTo>
                  <a:pt x="5843" y="7300"/>
                  <a:pt x="5525" y="7460"/>
                  <a:pt x="5171" y="7571"/>
                </a:cubicBezTo>
                <a:cubicBezTo>
                  <a:pt x="4801" y="7688"/>
                  <a:pt x="4408" y="7747"/>
                  <a:pt x="4001" y="7747"/>
                </a:cubicBezTo>
                <a:cubicBezTo>
                  <a:pt x="3595" y="7747"/>
                  <a:pt x="3201" y="7687"/>
                  <a:pt x="2831" y="7571"/>
                </a:cubicBezTo>
                <a:cubicBezTo>
                  <a:pt x="2478" y="7458"/>
                  <a:pt x="2160" y="7298"/>
                  <a:pt x="1889" y="7096"/>
                </a:cubicBezTo>
                <a:cubicBezTo>
                  <a:pt x="1349" y="6692"/>
                  <a:pt x="1051" y="6161"/>
                  <a:pt x="1051" y="5601"/>
                </a:cubicBezTo>
                <a:cubicBezTo>
                  <a:pt x="1051" y="5279"/>
                  <a:pt x="1051" y="4976"/>
                  <a:pt x="1098" y="4711"/>
                </a:cubicBezTo>
                <a:cubicBezTo>
                  <a:pt x="1145" y="4438"/>
                  <a:pt x="1236" y="4237"/>
                  <a:pt x="1385" y="4076"/>
                </a:cubicBezTo>
                <a:cubicBezTo>
                  <a:pt x="1565" y="3881"/>
                  <a:pt x="1836" y="3736"/>
                  <a:pt x="2216" y="3635"/>
                </a:cubicBezTo>
                <a:cubicBezTo>
                  <a:pt x="2665" y="3513"/>
                  <a:pt x="3249" y="3455"/>
                  <a:pt x="4001" y="3455"/>
                </a:cubicBezTo>
                <a:moveTo>
                  <a:pt x="4001" y="3205"/>
                </a:moveTo>
                <a:cubicBezTo>
                  <a:pt x="801" y="3205"/>
                  <a:pt x="801" y="4278"/>
                  <a:pt x="801" y="5602"/>
                </a:cubicBezTo>
                <a:cubicBezTo>
                  <a:pt x="801" y="6926"/>
                  <a:pt x="2234" y="8000"/>
                  <a:pt x="4001" y="8000"/>
                </a:cubicBezTo>
                <a:cubicBezTo>
                  <a:pt x="5769" y="8000"/>
                  <a:pt x="7201" y="6926"/>
                  <a:pt x="7201" y="5602"/>
                </a:cubicBezTo>
                <a:cubicBezTo>
                  <a:pt x="7201" y="4278"/>
                  <a:pt x="7201" y="3205"/>
                  <a:pt x="4001" y="3205"/>
                </a:cubicBezTo>
                <a:close/>
                <a:moveTo>
                  <a:pt x="1735" y="7293"/>
                </a:moveTo>
                <a:cubicBezTo>
                  <a:pt x="1265" y="7293"/>
                  <a:pt x="825" y="6983"/>
                  <a:pt x="496" y="6421"/>
                </a:cubicBezTo>
                <a:cubicBezTo>
                  <a:pt x="176" y="5873"/>
                  <a:pt x="0" y="5149"/>
                  <a:pt x="0" y="4383"/>
                </a:cubicBezTo>
                <a:cubicBezTo>
                  <a:pt x="0" y="3557"/>
                  <a:pt x="164" y="2476"/>
                  <a:pt x="418" y="1630"/>
                </a:cubicBezTo>
                <a:cubicBezTo>
                  <a:pt x="640" y="886"/>
                  <a:pt x="1025" y="0"/>
                  <a:pt x="1596" y="0"/>
                </a:cubicBezTo>
                <a:cubicBezTo>
                  <a:pt x="1685" y="0"/>
                  <a:pt x="1763" y="35"/>
                  <a:pt x="1819" y="100"/>
                </a:cubicBezTo>
                <a:cubicBezTo>
                  <a:pt x="2035" y="351"/>
                  <a:pt x="1929" y="1057"/>
                  <a:pt x="1806" y="1876"/>
                </a:cubicBezTo>
                <a:cubicBezTo>
                  <a:pt x="1701" y="2582"/>
                  <a:pt x="1591" y="3312"/>
                  <a:pt x="1695" y="3733"/>
                </a:cubicBezTo>
                <a:cubicBezTo>
                  <a:pt x="1708" y="3783"/>
                  <a:pt x="1676" y="3835"/>
                  <a:pt x="1626" y="3847"/>
                </a:cubicBezTo>
                <a:cubicBezTo>
                  <a:pt x="1576" y="3860"/>
                  <a:pt x="1525" y="3828"/>
                  <a:pt x="1513" y="3778"/>
                </a:cubicBezTo>
                <a:cubicBezTo>
                  <a:pt x="1401" y="3322"/>
                  <a:pt x="1513" y="2573"/>
                  <a:pt x="1621" y="1848"/>
                </a:cubicBezTo>
                <a:cubicBezTo>
                  <a:pt x="1723" y="1173"/>
                  <a:pt x="1836" y="407"/>
                  <a:pt x="1676" y="222"/>
                </a:cubicBezTo>
                <a:cubicBezTo>
                  <a:pt x="1655" y="197"/>
                  <a:pt x="1631" y="187"/>
                  <a:pt x="1596" y="187"/>
                </a:cubicBezTo>
                <a:cubicBezTo>
                  <a:pt x="1246" y="187"/>
                  <a:pt x="882" y="732"/>
                  <a:pt x="598" y="1683"/>
                </a:cubicBezTo>
                <a:cubicBezTo>
                  <a:pt x="349" y="2515"/>
                  <a:pt x="188" y="3575"/>
                  <a:pt x="188" y="4383"/>
                </a:cubicBezTo>
                <a:cubicBezTo>
                  <a:pt x="188" y="5117"/>
                  <a:pt x="355" y="5807"/>
                  <a:pt x="658" y="6326"/>
                </a:cubicBezTo>
                <a:cubicBezTo>
                  <a:pt x="951" y="6828"/>
                  <a:pt x="1334" y="7105"/>
                  <a:pt x="1735" y="7105"/>
                </a:cubicBezTo>
                <a:cubicBezTo>
                  <a:pt x="1786" y="7105"/>
                  <a:pt x="1829" y="7147"/>
                  <a:pt x="1829" y="7198"/>
                </a:cubicBezTo>
                <a:cubicBezTo>
                  <a:pt x="1829" y="7250"/>
                  <a:pt x="1788" y="7293"/>
                  <a:pt x="1735" y="7293"/>
                </a:cubicBezTo>
                <a:close/>
                <a:moveTo>
                  <a:pt x="6265" y="7293"/>
                </a:moveTo>
                <a:cubicBezTo>
                  <a:pt x="6214" y="7293"/>
                  <a:pt x="6171" y="7251"/>
                  <a:pt x="6171" y="7200"/>
                </a:cubicBezTo>
                <a:cubicBezTo>
                  <a:pt x="6171" y="7148"/>
                  <a:pt x="6214" y="7106"/>
                  <a:pt x="6265" y="7106"/>
                </a:cubicBezTo>
                <a:cubicBezTo>
                  <a:pt x="6666" y="7106"/>
                  <a:pt x="7050" y="6830"/>
                  <a:pt x="7344" y="6326"/>
                </a:cubicBezTo>
                <a:cubicBezTo>
                  <a:pt x="7648" y="5807"/>
                  <a:pt x="7815" y="5117"/>
                  <a:pt x="7815" y="4383"/>
                </a:cubicBezTo>
                <a:cubicBezTo>
                  <a:pt x="7815" y="3575"/>
                  <a:pt x="7654" y="2515"/>
                  <a:pt x="7405" y="1683"/>
                </a:cubicBezTo>
                <a:cubicBezTo>
                  <a:pt x="7120" y="732"/>
                  <a:pt x="6755" y="187"/>
                  <a:pt x="6405" y="187"/>
                </a:cubicBezTo>
                <a:cubicBezTo>
                  <a:pt x="6370" y="187"/>
                  <a:pt x="6345" y="198"/>
                  <a:pt x="6325" y="222"/>
                </a:cubicBezTo>
                <a:cubicBezTo>
                  <a:pt x="6165" y="408"/>
                  <a:pt x="6280" y="1173"/>
                  <a:pt x="6380" y="1848"/>
                </a:cubicBezTo>
                <a:cubicBezTo>
                  <a:pt x="6489" y="2572"/>
                  <a:pt x="6600" y="3322"/>
                  <a:pt x="6489" y="3778"/>
                </a:cubicBezTo>
                <a:cubicBezTo>
                  <a:pt x="6476" y="3828"/>
                  <a:pt x="6425" y="3860"/>
                  <a:pt x="6375" y="3847"/>
                </a:cubicBezTo>
                <a:cubicBezTo>
                  <a:pt x="6325" y="3835"/>
                  <a:pt x="6294" y="3785"/>
                  <a:pt x="6306" y="3733"/>
                </a:cubicBezTo>
                <a:cubicBezTo>
                  <a:pt x="6410" y="3313"/>
                  <a:pt x="6300" y="2582"/>
                  <a:pt x="6195" y="1876"/>
                </a:cubicBezTo>
                <a:cubicBezTo>
                  <a:pt x="6073" y="1057"/>
                  <a:pt x="5966" y="351"/>
                  <a:pt x="6183" y="100"/>
                </a:cubicBezTo>
                <a:cubicBezTo>
                  <a:pt x="6239" y="35"/>
                  <a:pt x="6316" y="0"/>
                  <a:pt x="6405" y="0"/>
                </a:cubicBezTo>
                <a:cubicBezTo>
                  <a:pt x="6976" y="0"/>
                  <a:pt x="7363" y="886"/>
                  <a:pt x="7585" y="1630"/>
                </a:cubicBezTo>
                <a:cubicBezTo>
                  <a:pt x="7839" y="2477"/>
                  <a:pt x="8004" y="3558"/>
                  <a:pt x="8004" y="4383"/>
                </a:cubicBezTo>
                <a:cubicBezTo>
                  <a:pt x="8004" y="5149"/>
                  <a:pt x="7828" y="5873"/>
                  <a:pt x="7506" y="6421"/>
                </a:cubicBezTo>
                <a:cubicBezTo>
                  <a:pt x="7176" y="6983"/>
                  <a:pt x="6735" y="7293"/>
                  <a:pt x="6265" y="7293"/>
                </a:cubicBezTo>
                <a:close/>
                <a:moveTo>
                  <a:pt x="5005" y="5821"/>
                </a:moveTo>
                <a:lnTo>
                  <a:pt x="3023" y="5821"/>
                </a:lnTo>
                <a:cubicBezTo>
                  <a:pt x="2908" y="5821"/>
                  <a:pt x="2814" y="5727"/>
                  <a:pt x="2814" y="5612"/>
                </a:cubicBezTo>
                <a:cubicBezTo>
                  <a:pt x="2814" y="5497"/>
                  <a:pt x="2908" y="5403"/>
                  <a:pt x="3023" y="5403"/>
                </a:cubicBezTo>
                <a:lnTo>
                  <a:pt x="5004" y="5403"/>
                </a:lnTo>
                <a:cubicBezTo>
                  <a:pt x="5119" y="5403"/>
                  <a:pt x="5213" y="5497"/>
                  <a:pt x="5213" y="5612"/>
                </a:cubicBezTo>
                <a:cubicBezTo>
                  <a:pt x="5214" y="5726"/>
                  <a:pt x="5120" y="5821"/>
                  <a:pt x="5005" y="5821"/>
                </a:cubicBezTo>
                <a:close/>
                <a:moveTo>
                  <a:pt x="5005" y="5940"/>
                </a:moveTo>
                <a:lnTo>
                  <a:pt x="3023" y="5940"/>
                </a:lnTo>
                <a:cubicBezTo>
                  <a:pt x="2841" y="5940"/>
                  <a:pt x="2695" y="5792"/>
                  <a:pt x="2695" y="5612"/>
                </a:cubicBezTo>
                <a:cubicBezTo>
                  <a:pt x="2695" y="5431"/>
                  <a:pt x="2843" y="5284"/>
                  <a:pt x="3023" y="5284"/>
                </a:cubicBezTo>
                <a:lnTo>
                  <a:pt x="5004" y="5284"/>
                </a:lnTo>
                <a:cubicBezTo>
                  <a:pt x="5185" y="5284"/>
                  <a:pt x="5331" y="5432"/>
                  <a:pt x="5331" y="5612"/>
                </a:cubicBezTo>
                <a:cubicBezTo>
                  <a:pt x="5333" y="5792"/>
                  <a:pt x="5185" y="5940"/>
                  <a:pt x="5005" y="5940"/>
                </a:cubicBezTo>
                <a:close/>
                <a:moveTo>
                  <a:pt x="3022" y="5521"/>
                </a:moveTo>
                <a:cubicBezTo>
                  <a:pt x="2972" y="5521"/>
                  <a:pt x="2933" y="5562"/>
                  <a:pt x="2933" y="5611"/>
                </a:cubicBezTo>
                <a:cubicBezTo>
                  <a:pt x="2933" y="5661"/>
                  <a:pt x="2974" y="5701"/>
                  <a:pt x="3022" y="5701"/>
                </a:cubicBezTo>
                <a:lnTo>
                  <a:pt x="5004" y="5701"/>
                </a:lnTo>
                <a:cubicBezTo>
                  <a:pt x="5054" y="5701"/>
                  <a:pt x="5094" y="5660"/>
                  <a:pt x="5094" y="5611"/>
                </a:cubicBezTo>
                <a:cubicBezTo>
                  <a:pt x="5094" y="5561"/>
                  <a:pt x="5053" y="5521"/>
                  <a:pt x="5004" y="5521"/>
                </a:cubicBezTo>
                <a:lnTo>
                  <a:pt x="3022" y="5521"/>
                </a:lnTo>
                <a:close/>
                <a:moveTo>
                  <a:pt x="4224" y="4620"/>
                </a:moveTo>
                <a:lnTo>
                  <a:pt x="4224" y="6602"/>
                </a:lnTo>
                <a:cubicBezTo>
                  <a:pt x="4224" y="6717"/>
                  <a:pt x="4130" y="6811"/>
                  <a:pt x="4015" y="6811"/>
                </a:cubicBezTo>
                <a:cubicBezTo>
                  <a:pt x="3900" y="6811"/>
                  <a:pt x="3806" y="6717"/>
                  <a:pt x="3806" y="6602"/>
                </a:cubicBezTo>
                <a:lnTo>
                  <a:pt x="3806" y="4620"/>
                </a:lnTo>
                <a:cubicBezTo>
                  <a:pt x="3806" y="4504"/>
                  <a:pt x="3900" y="4411"/>
                  <a:pt x="4015" y="4411"/>
                </a:cubicBezTo>
                <a:cubicBezTo>
                  <a:pt x="4129" y="4411"/>
                  <a:pt x="4224" y="4504"/>
                  <a:pt x="4224" y="4620"/>
                </a:cubicBezTo>
                <a:close/>
                <a:moveTo>
                  <a:pt x="4014" y="6930"/>
                </a:moveTo>
                <a:cubicBezTo>
                  <a:pt x="3833" y="6930"/>
                  <a:pt x="3686" y="6782"/>
                  <a:pt x="3686" y="6602"/>
                </a:cubicBezTo>
                <a:lnTo>
                  <a:pt x="3686" y="4620"/>
                </a:lnTo>
                <a:cubicBezTo>
                  <a:pt x="3686" y="4438"/>
                  <a:pt x="3834" y="4292"/>
                  <a:pt x="4014" y="4292"/>
                </a:cubicBezTo>
                <a:cubicBezTo>
                  <a:pt x="4195" y="4292"/>
                  <a:pt x="4341" y="4439"/>
                  <a:pt x="4341" y="4620"/>
                </a:cubicBezTo>
                <a:lnTo>
                  <a:pt x="4341" y="6602"/>
                </a:lnTo>
                <a:cubicBezTo>
                  <a:pt x="4343" y="6783"/>
                  <a:pt x="4195" y="6930"/>
                  <a:pt x="4014" y="6930"/>
                </a:cubicBezTo>
                <a:close/>
                <a:moveTo>
                  <a:pt x="4014" y="4530"/>
                </a:moveTo>
                <a:cubicBezTo>
                  <a:pt x="3964" y="4530"/>
                  <a:pt x="3924" y="4571"/>
                  <a:pt x="3924" y="4620"/>
                </a:cubicBezTo>
                <a:lnTo>
                  <a:pt x="3924" y="6602"/>
                </a:lnTo>
                <a:cubicBezTo>
                  <a:pt x="3924" y="6652"/>
                  <a:pt x="3965" y="6692"/>
                  <a:pt x="4014" y="6692"/>
                </a:cubicBezTo>
                <a:cubicBezTo>
                  <a:pt x="4064" y="6692"/>
                  <a:pt x="4104" y="6651"/>
                  <a:pt x="4104" y="6602"/>
                </a:cubicBezTo>
                <a:lnTo>
                  <a:pt x="4104" y="4620"/>
                </a:lnTo>
                <a:cubicBezTo>
                  <a:pt x="4105" y="4570"/>
                  <a:pt x="4064" y="4529"/>
                  <a:pt x="4014" y="45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iconfont-1033-827788">
            <a:extLst>
              <a:ext uri="{FF2B5EF4-FFF2-40B4-BE49-F238E27FC236}">
                <a16:creationId xmlns:a16="http://schemas.microsoft.com/office/drawing/2014/main" id="{B1A07806-8BF2-4B46-B86B-5CE8CA124D2F}"/>
              </a:ext>
            </a:extLst>
          </p:cNvPr>
          <p:cNvSpPr>
            <a:spLocks noChangeAspect="1"/>
          </p:cNvSpPr>
          <p:nvPr/>
        </p:nvSpPr>
        <p:spPr>
          <a:xfrm>
            <a:off x="4507112" y="2589777"/>
            <a:ext cx="591906" cy="609685"/>
          </a:xfrm>
          <a:custGeom>
            <a:avLst/>
            <a:gdLst>
              <a:gd name="T0" fmla="*/ 4055 w 10820"/>
              <a:gd name="T1" fmla="*/ 1909 h 11144"/>
              <a:gd name="T2" fmla="*/ 4081 w 10820"/>
              <a:gd name="T3" fmla="*/ 2178 h 11144"/>
              <a:gd name="T4" fmla="*/ 4388 w 10820"/>
              <a:gd name="T5" fmla="*/ 2248 h 11144"/>
              <a:gd name="T6" fmla="*/ 4475 w 10820"/>
              <a:gd name="T7" fmla="*/ 1909 h 11144"/>
              <a:gd name="T8" fmla="*/ 4929 w 10820"/>
              <a:gd name="T9" fmla="*/ 1699 h 11144"/>
              <a:gd name="T10" fmla="*/ 4475 w 10820"/>
              <a:gd name="T11" fmla="*/ 1489 h 11144"/>
              <a:gd name="T12" fmla="*/ 4265 w 10820"/>
              <a:gd name="T13" fmla="*/ 1017 h 11144"/>
              <a:gd name="T14" fmla="*/ 4055 w 10820"/>
              <a:gd name="T15" fmla="*/ 1489 h 11144"/>
              <a:gd name="T16" fmla="*/ 3531 w 10820"/>
              <a:gd name="T17" fmla="*/ 1699 h 11144"/>
              <a:gd name="T18" fmla="*/ 3741 w 10820"/>
              <a:gd name="T19" fmla="*/ 1909 h 11144"/>
              <a:gd name="T20" fmla="*/ 8519 w 10820"/>
              <a:gd name="T21" fmla="*/ 9427 h 11144"/>
              <a:gd name="T22" fmla="*/ 6748 w 10820"/>
              <a:gd name="T23" fmla="*/ 3175 h 11144"/>
              <a:gd name="T24" fmla="*/ 6005 w 10820"/>
              <a:gd name="T25" fmla="*/ 433 h 11144"/>
              <a:gd name="T26" fmla="*/ 2498 w 10820"/>
              <a:gd name="T27" fmla="*/ 398 h 11144"/>
              <a:gd name="T28" fmla="*/ 2351 w 10820"/>
              <a:gd name="T29" fmla="*/ 518 h 11144"/>
              <a:gd name="T30" fmla="*/ 3172 w 10820"/>
              <a:gd name="T31" fmla="*/ 6714 h 11144"/>
              <a:gd name="T32" fmla="*/ 148 w 10820"/>
              <a:gd name="T33" fmla="*/ 9469 h 11144"/>
              <a:gd name="T34" fmla="*/ 1075 w 10820"/>
              <a:gd name="T35" fmla="*/ 11064 h 11144"/>
              <a:gd name="T36" fmla="*/ 4354 w 10820"/>
              <a:gd name="T37" fmla="*/ 11144 h 11144"/>
              <a:gd name="T38" fmla="*/ 7607 w 10820"/>
              <a:gd name="T39" fmla="*/ 11064 h 11144"/>
              <a:gd name="T40" fmla="*/ 8533 w 10820"/>
              <a:gd name="T41" fmla="*/ 9470 h 11144"/>
              <a:gd name="T42" fmla="*/ 5801 w 10820"/>
              <a:gd name="T43" fmla="*/ 792 h 11144"/>
              <a:gd name="T44" fmla="*/ 1998 w 10820"/>
              <a:gd name="T45" fmla="*/ 3086 h 11144"/>
              <a:gd name="T46" fmla="*/ 2024 w 10820"/>
              <a:gd name="T47" fmla="*/ 3371 h 11144"/>
              <a:gd name="T48" fmla="*/ 4204 w 10820"/>
              <a:gd name="T49" fmla="*/ 6640 h 11144"/>
              <a:gd name="T50" fmla="*/ 8161 w 10820"/>
              <a:gd name="T51" fmla="*/ 10421 h 11144"/>
              <a:gd name="T52" fmla="*/ 4348 w 10820"/>
              <a:gd name="T53" fmla="*/ 10673 h 11144"/>
              <a:gd name="T54" fmla="*/ 4333 w 10820"/>
              <a:gd name="T55" fmla="*/ 10673 h 11144"/>
              <a:gd name="T56" fmla="*/ 520 w 10820"/>
              <a:gd name="T57" fmla="*/ 10421 h 11144"/>
              <a:gd name="T58" fmla="*/ 4296 w 10820"/>
              <a:gd name="T59" fmla="*/ 7006 h 11144"/>
              <a:gd name="T60" fmla="*/ 4382 w 10820"/>
              <a:gd name="T61" fmla="*/ 7008 h 11144"/>
              <a:gd name="T62" fmla="*/ 8161 w 10820"/>
              <a:gd name="T63" fmla="*/ 10421 h 11144"/>
              <a:gd name="T64" fmla="*/ 10737 w 10820"/>
              <a:gd name="T65" fmla="*/ 9368 h 11144"/>
              <a:gd name="T66" fmla="*/ 8283 w 10820"/>
              <a:gd name="T67" fmla="*/ 6841 h 11144"/>
              <a:gd name="T68" fmla="*/ 7732 w 10820"/>
              <a:gd name="T69" fmla="*/ 6562 h 11144"/>
              <a:gd name="T70" fmla="*/ 7288 w 10820"/>
              <a:gd name="T71" fmla="*/ 551 h 11144"/>
              <a:gd name="T72" fmla="*/ 7057 w 10820"/>
              <a:gd name="T73" fmla="*/ 918 h 11144"/>
              <a:gd name="T74" fmla="*/ 8671 w 10820"/>
              <a:gd name="T75" fmla="*/ 2220 h 11144"/>
              <a:gd name="T76" fmla="*/ 7409 w 10820"/>
              <a:gd name="T77" fmla="*/ 3086 h 11144"/>
              <a:gd name="T78" fmla="*/ 8541 w 10820"/>
              <a:gd name="T79" fmla="*/ 3697 h 11144"/>
              <a:gd name="T80" fmla="*/ 7321 w 10820"/>
              <a:gd name="T81" fmla="*/ 6484 h 11144"/>
              <a:gd name="T82" fmla="*/ 8086 w 10820"/>
              <a:gd name="T83" fmla="*/ 7175 h 11144"/>
              <a:gd name="T84" fmla="*/ 10361 w 10820"/>
              <a:gd name="T85" fmla="*/ 9457 h 11144"/>
              <a:gd name="T86" fmla="*/ 10216 w 10820"/>
              <a:gd name="T87" fmla="*/ 10194 h 11144"/>
              <a:gd name="T88" fmla="*/ 9623 w 10820"/>
              <a:gd name="T89" fmla="*/ 10608 h 11144"/>
              <a:gd name="T90" fmla="*/ 10632 w 10820"/>
              <a:gd name="T91" fmla="*/ 10388 h 11144"/>
              <a:gd name="T92" fmla="*/ 10737 w 10820"/>
              <a:gd name="T93" fmla="*/ 9368 h 11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820" h="11144">
                <a:moveTo>
                  <a:pt x="3741" y="1909"/>
                </a:moveTo>
                <a:lnTo>
                  <a:pt x="4055" y="1909"/>
                </a:lnTo>
                <a:lnTo>
                  <a:pt x="4055" y="2083"/>
                </a:lnTo>
                <a:cubicBezTo>
                  <a:pt x="4055" y="2118"/>
                  <a:pt x="4066" y="2149"/>
                  <a:pt x="4081" y="2178"/>
                </a:cubicBezTo>
                <a:cubicBezTo>
                  <a:pt x="4096" y="2260"/>
                  <a:pt x="4164" y="2322"/>
                  <a:pt x="4249" y="2322"/>
                </a:cubicBezTo>
                <a:cubicBezTo>
                  <a:pt x="4307" y="2322"/>
                  <a:pt x="4356" y="2292"/>
                  <a:pt x="4388" y="2248"/>
                </a:cubicBezTo>
                <a:cubicBezTo>
                  <a:pt x="4439" y="2210"/>
                  <a:pt x="4475" y="2152"/>
                  <a:pt x="4475" y="2083"/>
                </a:cubicBezTo>
                <a:lnTo>
                  <a:pt x="4475" y="1909"/>
                </a:lnTo>
                <a:lnTo>
                  <a:pt x="4719" y="1909"/>
                </a:lnTo>
                <a:cubicBezTo>
                  <a:pt x="4835" y="1909"/>
                  <a:pt x="4929" y="1815"/>
                  <a:pt x="4929" y="1699"/>
                </a:cubicBezTo>
                <a:cubicBezTo>
                  <a:pt x="4929" y="1584"/>
                  <a:pt x="4835" y="1489"/>
                  <a:pt x="4719" y="1489"/>
                </a:cubicBezTo>
                <a:lnTo>
                  <a:pt x="4475" y="1489"/>
                </a:lnTo>
                <a:lnTo>
                  <a:pt x="4475" y="1227"/>
                </a:lnTo>
                <a:cubicBezTo>
                  <a:pt x="4475" y="1111"/>
                  <a:pt x="4381" y="1017"/>
                  <a:pt x="4265" y="1017"/>
                </a:cubicBezTo>
                <a:cubicBezTo>
                  <a:pt x="4149" y="1017"/>
                  <a:pt x="4055" y="1111"/>
                  <a:pt x="4055" y="1227"/>
                </a:cubicBezTo>
                <a:lnTo>
                  <a:pt x="4055" y="1489"/>
                </a:lnTo>
                <a:lnTo>
                  <a:pt x="3741" y="1489"/>
                </a:lnTo>
                <a:cubicBezTo>
                  <a:pt x="3625" y="1489"/>
                  <a:pt x="3531" y="1584"/>
                  <a:pt x="3531" y="1699"/>
                </a:cubicBezTo>
                <a:cubicBezTo>
                  <a:pt x="3531" y="1815"/>
                  <a:pt x="3625" y="1909"/>
                  <a:pt x="3741" y="1909"/>
                </a:cubicBezTo>
                <a:close/>
                <a:moveTo>
                  <a:pt x="3741" y="1909"/>
                </a:moveTo>
                <a:close/>
                <a:moveTo>
                  <a:pt x="8533" y="9470"/>
                </a:moveTo>
                <a:lnTo>
                  <a:pt x="8519" y="9427"/>
                </a:lnTo>
                <a:cubicBezTo>
                  <a:pt x="7931" y="7999"/>
                  <a:pt x="6728" y="6985"/>
                  <a:pt x="5304" y="6665"/>
                </a:cubicBezTo>
                <a:cubicBezTo>
                  <a:pt x="6164" y="6052"/>
                  <a:pt x="6748" y="4738"/>
                  <a:pt x="6748" y="3175"/>
                </a:cubicBezTo>
                <a:cubicBezTo>
                  <a:pt x="6748" y="2181"/>
                  <a:pt x="6503" y="1237"/>
                  <a:pt x="6058" y="518"/>
                </a:cubicBezTo>
                <a:lnTo>
                  <a:pt x="6005" y="433"/>
                </a:lnTo>
                <a:lnTo>
                  <a:pt x="5911" y="398"/>
                </a:lnTo>
                <a:cubicBezTo>
                  <a:pt x="4826" y="0"/>
                  <a:pt x="3582" y="0"/>
                  <a:pt x="2498" y="398"/>
                </a:cubicBezTo>
                <a:lnTo>
                  <a:pt x="2403" y="433"/>
                </a:lnTo>
                <a:lnTo>
                  <a:pt x="2351" y="518"/>
                </a:lnTo>
                <a:cubicBezTo>
                  <a:pt x="1905" y="1237"/>
                  <a:pt x="1660" y="2180"/>
                  <a:pt x="1660" y="3175"/>
                </a:cubicBezTo>
                <a:cubicBezTo>
                  <a:pt x="1660" y="4779"/>
                  <a:pt x="2274" y="6124"/>
                  <a:pt x="3172" y="6714"/>
                </a:cubicBezTo>
                <a:cubicBezTo>
                  <a:pt x="1846" y="7080"/>
                  <a:pt x="724" y="8064"/>
                  <a:pt x="162" y="9427"/>
                </a:cubicBezTo>
                <a:lnTo>
                  <a:pt x="148" y="9469"/>
                </a:lnTo>
                <a:cubicBezTo>
                  <a:pt x="94" y="9693"/>
                  <a:pt x="0" y="10257"/>
                  <a:pt x="303" y="10671"/>
                </a:cubicBezTo>
                <a:cubicBezTo>
                  <a:pt x="422" y="10834"/>
                  <a:pt x="653" y="11035"/>
                  <a:pt x="1075" y="11064"/>
                </a:cubicBezTo>
                <a:cubicBezTo>
                  <a:pt x="1463" y="11091"/>
                  <a:pt x="2557" y="11118"/>
                  <a:pt x="4341" y="11144"/>
                </a:cubicBezTo>
                <a:lnTo>
                  <a:pt x="4354" y="11144"/>
                </a:lnTo>
                <a:lnTo>
                  <a:pt x="4356" y="11144"/>
                </a:lnTo>
                <a:cubicBezTo>
                  <a:pt x="6124" y="11118"/>
                  <a:pt x="7218" y="11091"/>
                  <a:pt x="7607" y="11064"/>
                </a:cubicBezTo>
                <a:cubicBezTo>
                  <a:pt x="8028" y="11035"/>
                  <a:pt x="8259" y="10834"/>
                  <a:pt x="8378" y="10671"/>
                </a:cubicBezTo>
                <a:cubicBezTo>
                  <a:pt x="8681" y="10257"/>
                  <a:pt x="8587" y="9693"/>
                  <a:pt x="8533" y="9470"/>
                </a:cubicBezTo>
                <a:close/>
                <a:moveTo>
                  <a:pt x="2607" y="792"/>
                </a:moveTo>
                <a:cubicBezTo>
                  <a:pt x="3625" y="445"/>
                  <a:pt x="4782" y="445"/>
                  <a:pt x="5801" y="792"/>
                </a:cubicBezTo>
                <a:cubicBezTo>
                  <a:pt x="6165" y="1423"/>
                  <a:pt x="6371" y="2227"/>
                  <a:pt x="6410" y="3083"/>
                </a:cubicBezTo>
                <a:cubicBezTo>
                  <a:pt x="4444" y="2696"/>
                  <a:pt x="2739" y="2937"/>
                  <a:pt x="1998" y="3086"/>
                </a:cubicBezTo>
                <a:cubicBezTo>
                  <a:pt x="2036" y="2228"/>
                  <a:pt x="2242" y="1424"/>
                  <a:pt x="2607" y="792"/>
                </a:cubicBezTo>
                <a:close/>
                <a:moveTo>
                  <a:pt x="2024" y="3371"/>
                </a:moveTo>
                <a:cubicBezTo>
                  <a:pt x="2618" y="3244"/>
                  <a:pt x="4387" y="2947"/>
                  <a:pt x="6384" y="3367"/>
                </a:cubicBezTo>
                <a:cubicBezTo>
                  <a:pt x="6261" y="5177"/>
                  <a:pt x="5313" y="6640"/>
                  <a:pt x="4204" y="6640"/>
                </a:cubicBezTo>
                <a:cubicBezTo>
                  <a:pt x="3095" y="6640"/>
                  <a:pt x="2148" y="5180"/>
                  <a:pt x="2024" y="3371"/>
                </a:cubicBezTo>
                <a:close/>
                <a:moveTo>
                  <a:pt x="8161" y="10421"/>
                </a:moveTo>
                <a:cubicBezTo>
                  <a:pt x="8087" y="10522"/>
                  <a:pt x="7967" y="10577"/>
                  <a:pt x="7795" y="10589"/>
                </a:cubicBezTo>
                <a:cubicBezTo>
                  <a:pt x="7390" y="10617"/>
                  <a:pt x="6230" y="10645"/>
                  <a:pt x="4348" y="10673"/>
                </a:cubicBezTo>
                <a:lnTo>
                  <a:pt x="4353" y="10984"/>
                </a:lnTo>
                <a:lnTo>
                  <a:pt x="4333" y="10673"/>
                </a:lnTo>
                <a:cubicBezTo>
                  <a:pt x="2451" y="10645"/>
                  <a:pt x="1292" y="10617"/>
                  <a:pt x="887" y="10589"/>
                </a:cubicBezTo>
                <a:cubicBezTo>
                  <a:pt x="714" y="10577"/>
                  <a:pt x="594" y="10522"/>
                  <a:pt x="520" y="10421"/>
                </a:cubicBezTo>
                <a:cubicBezTo>
                  <a:pt x="386" y="10237"/>
                  <a:pt x="396" y="9918"/>
                  <a:pt x="452" y="9673"/>
                </a:cubicBezTo>
                <a:cubicBezTo>
                  <a:pt x="1127" y="8059"/>
                  <a:pt x="2634" y="7014"/>
                  <a:pt x="4296" y="7006"/>
                </a:cubicBezTo>
                <a:lnTo>
                  <a:pt x="4341" y="7009"/>
                </a:lnTo>
                <a:cubicBezTo>
                  <a:pt x="4355" y="7009"/>
                  <a:pt x="4370" y="7008"/>
                  <a:pt x="4382" y="7008"/>
                </a:cubicBezTo>
                <a:cubicBezTo>
                  <a:pt x="6048" y="7014"/>
                  <a:pt x="7555" y="8059"/>
                  <a:pt x="8229" y="9672"/>
                </a:cubicBezTo>
                <a:cubicBezTo>
                  <a:pt x="8285" y="9918"/>
                  <a:pt x="8295" y="10237"/>
                  <a:pt x="8161" y="10421"/>
                </a:cubicBezTo>
                <a:close/>
                <a:moveTo>
                  <a:pt x="8161" y="10421"/>
                </a:moveTo>
                <a:close/>
                <a:moveTo>
                  <a:pt x="10737" y="9368"/>
                </a:moveTo>
                <a:cubicBezTo>
                  <a:pt x="10273" y="7916"/>
                  <a:pt x="9254" y="7368"/>
                  <a:pt x="8579" y="7005"/>
                </a:cubicBezTo>
                <a:cubicBezTo>
                  <a:pt x="8472" y="6947"/>
                  <a:pt x="8372" y="6894"/>
                  <a:pt x="8283" y="6841"/>
                </a:cubicBezTo>
                <a:cubicBezTo>
                  <a:pt x="8161" y="6769"/>
                  <a:pt x="8036" y="6710"/>
                  <a:pt x="7926" y="6658"/>
                </a:cubicBezTo>
                <a:cubicBezTo>
                  <a:pt x="7864" y="6629"/>
                  <a:pt x="7786" y="6592"/>
                  <a:pt x="7732" y="6562"/>
                </a:cubicBezTo>
                <a:cubicBezTo>
                  <a:pt x="9262" y="4288"/>
                  <a:pt x="9066" y="2266"/>
                  <a:pt x="9058" y="2190"/>
                </a:cubicBezTo>
                <a:cubicBezTo>
                  <a:pt x="8998" y="1027"/>
                  <a:pt x="7874" y="609"/>
                  <a:pt x="7288" y="551"/>
                </a:cubicBezTo>
                <a:lnTo>
                  <a:pt x="7096" y="532"/>
                </a:lnTo>
                <a:lnTo>
                  <a:pt x="7057" y="918"/>
                </a:lnTo>
                <a:lnTo>
                  <a:pt x="7251" y="937"/>
                </a:lnTo>
                <a:cubicBezTo>
                  <a:pt x="7306" y="943"/>
                  <a:pt x="8612" y="1085"/>
                  <a:pt x="8671" y="2220"/>
                </a:cubicBezTo>
                <a:cubicBezTo>
                  <a:pt x="8672" y="2229"/>
                  <a:pt x="8710" y="2650"/>
                  <a:pt x="8611" y="3310"/>
                </a:cubicBezTo>
                <a:cubicBezTo>
                  <a:pt x="8167" y="3132"/>
                  <a:pt x="7500" y="3090"/>
                  <a:pt x="7409" y="3086"/>
                </a:cubicBezTo>
                <a:lnTo>
                  <a:pt x="7390" y="3473"/>
                </a:lnTo>
                <a:cubicBezTo>
                  <a:pt x="7720" y="3490"/>
                  <a:pt x="8278" y="3565"/>
                  <a:pt x="8541" y="3697"/>
                </a:cubicBezTo>
                <a:cubicBezTo>
                  <a:pt x="8382" y="4455"/>
                  <a:pt x="8047" y="5429"/>
                  <a:pt x="7342" y="6445"/>
                </a:cubicBezTo>
                <a:lnTo>
                  <a:pt x="7321" y="6484"/>
                </a:lnTo>
                <a:cubicBezTo>
                  <a:pt x="7216" y="6753"/>
                  <a:pt x="7505" y="6889"/>
                  <a:pt x="7760" y="7009"/>
                </a:cubicBezTo>
                <a:cubicBezTo>
                  <a:pt x="7861" y="7057"/>
                  <a:pt x="7976" y="7110"/>
                  <a:pt x="8086" y="7175"/>
                </a:cubicBezTo>
                <a:cubicBezTo>
                  <a:pt x="8178" y="7230"/>
                  <a:pt x="8283" y="7286"/>
                  <a:pt x="8395" y="7347"/>
                </a:cubicBezTo>
                <a:cubicBezTo>
                  <a:pt x="9052" y="7700"/>
                  <a:pt x="9952" y="8183"/>
                  <a:pt x="10361" y="9457"/>
                </a:cubicBezTo>
                <a:cubicBezTo>
                  <a:pt x="10438" y="9946"/>
                  <a:pt x="10364" y="10102"/>
                  <a:pt x="10329" y="10146"/>
                </a:cubicBezTo>
                <a:cubicBezTo>
                  <a:pt x="10312" y="10167"/>
                  <a:pt x="10285" y="10189"/>
                  <a:pt x="10216" y="10194"/>
                </a:cubicBezTo>
                <a:cubicBezTo>
                  <a:pt x="9958" y="10211"/>
                  <a:pt x="9614" y="10220"/>
                  <a:pt x="9613" y="10220"/>
                </a:cubicBezTo>
                <a:lnTo>
                  <a:pt x="9623" y="10608"/>
                </a:lnTo>
                <a:cubicBezTo>
                  <a:pt x="9623" y="10608"/>
                  <a:pt x="9977" y="10599"/>
                  <a:pt x="10242" y="10581"/>
                </a:cubicBezTo>
                <a:cubicBezTo>
                  <a:pt x="10408" y="10570"/>
                  <a:pt x="10539" y="10505"/>
                  <a:pt x="10632" y="10388"/>
                </a:cubicBezTo>
                <a:cubicBezTo>
                  <a:pt x="10785" y="10197"/>
                  <a:pt x="10820" y="9882"/>
                  <a:pt x="10737" y="9368"/>
                </a:cubicBezTo>
                <a:close/>
                <a:moveTo>
                  <a:pt x="10737" y="9368"/>
                </a:move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crowd-of-users_33887">
            <a:extLst>
              <a:ext uri="{FF2B5EF4-FFF2-40B4-BE49-F238E27FC236}">
                <a16:creationId xmlns:a16="http://schemas.microsoft.com/office/drawing/2014/main" id="{F0F51113-B77A-6D42-9D31-53676B565531}"/>
              </a:ext>
            </a:extLst>
          </p:cNvPr>
          <p:cNvSpPr>
            <a:spLocks noChangeAspect="1"/>
          </p:cNvSpPr>
          <p:nvPr/>
        </p:nvSpPr>
        <p:spPr>
          <a:xfrm>
            <a:off x="8233399" y="2681173"/>
            <a:ext cx="609685" cy="466203"/>
          </a:xfrm>
          <a:custGeom>
            <a:avLst/>
            <a:gdLst>
              <a:gd name="connsiteX0" fmla="*/ 279380 w 602133"/>
              <a:gd name="connsiteY0" fmla="*/ 303917 h 460429"/>
              <a:gd name="connsiteX1" fmla="*/ 329638 w 602133"/>
              <a:gd name="connsiteY1" fmla="*/ 303917 h 460429"/>
              <a:gd name="connsiteX2" fmla="*/ 405716 w 602133"/>
              <a:gd name="connsiteY2" fmla="*/ 379871 h 460429"/>
              <a:gd name="connsiteX3" fmla="*/ 405716 w 602133"/>
              <a:gd name="connsiteY3" fmla="*/ 441555 h 460429"/>
              <a:gd name="connsiteX4" fmla="*/ 405255 w 602133"/>
              <a:gd name="connsiteY4" fmla="*/ 441555 h 460429"/>
              <a:gd name="connsiteX5" fmla="*/ 401566 w 602133"/>
              <a:gd name="connsiteY5" fmla="*/ 443857 h 460429"/>
              <a:gd name="connsiteX6" fmla="*/ 311195 w 602133"/>
              <a:gd name="connsiteY6" fmla="*/ 460429 h 460429"/>
              <a:gd name="connsiteX7" fmla="*/ 207452 w 602133"/>
              <a:gd name="connsiteY7" fmla="*/ 443857 h 460429"/>
              <a:gd name="connsiteX8" fmla="*/ 203302 w 602133"/>
              <a:gd name="connsiteY8" fmla="*/ 442476 h 460429"/>
              <a:gd name="connsiteX9" fmla="*/ 203302 w 602133"/>
              <a:gd name="connsiteY9" fmla="*/ 441555 h 460429"/>
              <a:gd name="connsiteX10" fmla="*/ 203302 w 602133"/>
              <a:gd name="connsiteY10" fmla="*/ 379871 h 460429"/>
              <a:gd name="connsiteX11" fmla="*/ 279380 w 602133"/>
              <a:gd name="connsiteY11" fmla="*/ 303917 h 460429"/>
              <a:gd name="connsiteX12" fmla="*/ 378044 w 602133"/>
              <a:gd name="connsiteY12" fmla="*/ 242690 h 460429"/>
              <a:gd name="connsiteX13" fmla="*/ 428312 w 602133"/>
              <a:gd name="connsiteY13" fmla="*/ 242690 h 460429"/>
              <a:gd name="connsiteX14" fmla="*/ 504406 w 602133"/>
              <a:gd name="connsiteY14" fmla="*/ 318644 h 460429"/>
              <a:gd name="connsiteX15" fmla="*/ 504406 w 602133"/>
              <a:gd name="connsiteY15" fmla="*/ 380329 h 460429"/>
              <a:gd name="connsiteX16" fmla="*/ 503945 w 602133"/>
              <a:gd name="connsiteY16" fmla="*/ 380329 h 460429"/>
              <a:gd name="connsiteX17" fmla="*/ 499794 w 602133"/>
              <a:gd name="connsiteY17" fmla="*/ 382630 h 460429"/>
              <a:gd name="connsiteX18" fmla="*/ 420011 w 602133"/>
              <a:gd name="connsiteY18" fmla="*/ 399202 h 460429"/>
              <a:gd name="connsiteX19" fmla="*/ 420011 w 602133"/>
              <a:gd name="connsiteY19" fmla="*/ 380329 h 460429"/>
              <a:gd name="connsiteX20" fmla="*/ 355446 w 602133"/>
              <a:gd name="connsiteY20" fmla="*/ 293787 h 460429"/>
              <a:gd name="connsiteX21" fmla="*/ 378044 w 602133"/>
              <a:gd name="connsiteY21" fmla="*/ 242690 h 460429"/>
              <a:gd name="connsiteX22" fmla="*/ 175210 w 602133"/>
              <a:gd name="connsiteY22" fmla="*/ 242690 h 460429"/>
              <a:gd name="connsiteX23" fmla="*/ 225454 w 602133"/>
              <a:gd name="connsiteY23" fmla="*/ 242690 h 460429"/>
              <a:gd name="connsiteX24" fmla="*/ 230986 w 602133"/>
              <a:gd name="connsiteY24" fmla="*/ 243150 h 460429"/>
              <a:gd name="connsiteX25" fmla="*/ 253573 w 602133"/>
              <a:gd name="connsiteY25" fmla="*/ 293792 h 460429"/>
              <a:gd name="connsiteX26" fmla="*/ 189038 w 602133"/>
              <a:gd name="connsiteY26" fmla="*/ 380343 h 460429"/>
              <a:gd name="connsiteX27" fmla="*/ 189038 w 602133"/>
              <a:gd name="connsiteY27" fmla="*/ 398758 h 460429"/>
              <a:gd name="connsiteX28" fmla="*/ 103300 w 602133"/>
              <a:gd name="connsiteY28" fmla="*/ 382645 h 460429"/>
              <a:gd name="connsiteX29" fmla="*/ 99151 w 602133"/>
              <a:gd name="connsiteY29" fmla="*/ 381264 h 460429"/>
              <a:gd name="connsiteX30" fmla="*/ 98690 w 602133"/>
              <a:gd name="connsiteY30" fmla="*/ 380343 h 460429"/>
              <a:gd name="connsiteX31" fmla="*/ 98690 w 602133"/>
              <a:gd name="connsiteY31" fmla="*/ 318652 h 460429"/>
              <a:gd name="connsiteX32" fmla="*/ 175210 w 602133"/>
              <a:gd name="connsiteY32" fmla="*/ 242690 h 460429"/>
              <a:gd name="connsiteX33" fmla="*/ 76056 w 602133"/>
              <a:gd name="connsiteY33" fmla="*/ 185090 h 460429"/>
              <a:gd name="connsiteX34" fmla="*/ 126300 w 602133"/>
              <a:gd name="connsiteY34" fmla="*/ 185090 h 460429"/>
              <a:gd name="connsiteX35" fmla="*/ 148886 w 602133"/>
              <a:gd name="connsiteY35" fmla="*/ 235732 h 460429"/>
              <a:gd name="connsiteX36" fmla="*/ 84353 w 602133"/>
              <a:gd name="connsiteY36" fmla="*/ 322283 h 460429"/>
              <a:gd name="connsiteX37" fmla="*/ 84353 w 602133"/>
              <a:gd name="connsiteY37" fmla="*/ 341158 h 460429"/>
              <a:gd name="connsiteX38" fmla="*/ 4609 w 602133"/>
              <a:gd name="connsiteY38" fmla="*/ 324584 h 460429"/>
              <a:gd name="connsiteX39" fmla="*/ 461 w 602133"/>
              <a:gd name="connsiteY39" fmla="*/ 322743 h 460429"/>
              <a:gd name="connsiteX40" fmla="*/ 0 w 602133"/>
              <a:gd name="connsiteY40" fmla="*/ 322743 h 460429"/>
              <a:gd name="connsiteX41" fmla="*/ 0 w 602133"/>
              <a:gd name="connsiteY41" fmla="*/ 261052 h 460429"/>
              <a:gd name="connsiteX42" fmla="*/ 76056 w 602133"/>
              <a:gd name="connsiteY42" fmla="*/ 185090 h 460429"/>
              <a:gd name="connsiteX43" fmla="*/ 476280 w 602133"/>
              <a:gd name="connsiteY43" fmla="*/ 183239 h 460429"/>
              <a:gd name="connsiteX44" fmla="*/ 526068 w 602133"/>
              <a:gd name="connsiteY44" fmla="*/ 183239 h 460429"/>
              <a:gd name="connsiteX45" fmla="*/ 602133 w 602133"/>
              <a:gd name="connsiteY45" fmla="*/ 259201 h 460429"/>
              <a:gd name="connsiteX46" fmla="*/ 602133 w 602133"/>
              <a:gd name="connsiteY46" fmla="*/ 320432 h 460429"/>
              <a:gd name="connsiteX47" fmla="*/ 601672 w 602133"/>
              <a:gd name="connsiteY47" fmla="*/ 320432 h 460429"/>
              <a:gd name="connsiteX48" fmla="*/ 597984 w 602133"/>
              <a:gd name="connsiteY48" fmla="*/ 322733 h 460429"/>
              <a:gd name="connsiteX49" fmla="*/ 518231 w 602133"/>
              <a:gd name="connsiteY49" fmla="*/ 339307 h 460429"/>
              <a:gd name="connsiteX50" fmla="*/ 518231 w 602133"/>
              <a:gd name="connsiteY50" fmla="*/ 320432 h 460429"/>
              <a:gd name="connsiteX51" fmla="*/ 453691 w 602133"/>
              <a:gd name="connsiteY51" fmla="*/ 233881 h 460429"/>
              <a:gd name="connsiteX52" fmla="*/ 476280 w 602133"/>
              <a:gd name="connsiteY52" fmla="*/ 183239 h 460429"/>
              <a:gd name="connsiteX53" fmla="*/ 304510 w 602133"/>
              <a:gd name="connsiteY53" fmla="*/ 181462 h 460429"/>
              <a:gd name="connsiteX54" fmla="*/ 363739 w 602133"/>
              <a:gd name="connsiteY54" fmla="*/ 240839 h 460429"/>
              <a:gd name="connsiteX55" fmla="*/ 304510 w 602133"/>
              <a:gd name="connsiteY55" fmla="*/ 300216 h 460429"/>
              <a:gd name="connsiteX56" fmla="*/ 245281 w 602133"/>
              <a:gd name="connsiteY56" fmla="*/ 240839 h 460429"/>
              <a:gd name="connsiteX57" fmla="*/ 304510 w 602133"/>
              <a:gd name="connsiteY57" fmla="*/ 181462 h 460429"/>
              <a:gd name="connsiteX58" fmla="*/ 274338 w 602133"/>
              <a:gd name="connsiteY58" fmla="*/ 133116 h 460429"/>
              <a:gd name="connsiteX59" fmla="*/ 328757 w 602133"/>
              <a:gd name="connsiteY59" fmla="*/ 133116 h 460429"/>
              <a:gd name="connsiteX60" fmla="*/ 345821 w 602133"/>
              <a:gd name="connsiteY60" fmla="*/ 134957 h 460429"/>
              <a:gd name="connsiteX61" fmla="*/ 332447 w 602133"/>
              <a:gd name="connsiteY61" fmla="*/ 172703 h 460429"/>
              <a:gd name="connsiteX62" fmla="*/ 304776 w 602133"/>
              <a:gd name="connsiteY62" fmla="*/ 166719 h 460429"/>
              <a:gd name="connsiteX63" fmla="*/ 270648 w 602133"/>
              <a:gd name="connsiteY63" fmla="*/ 175465 h 460429"/>
              <a:gd name="connsiteX64" fmla="*/ 257274 w 602133"/>
              <a:gd name="connsiteY64" fmla="*/ 134957 h 460429"/>
              <a:gd name="connsiteX65" fmla="*/ 274338 w 602133"/>
              <a:gd name="connsiteY65" fmla="*/ 133116 h 460429"/>
              <a:gd name="connsiteX66" fmla="*/ 402940 w 602133"/>
              <a:gd name="connsiteY66" fmla="*/ 120160 h 460429"/>
              <a:gd name="connsiteX67" fmla="*/ 462427 w 602133"/>
              <a:gd name="connsiteY67" fmla="*/ 179582 h 460429"/>
              <a:gd name="connsiteX68" fmla="*/ 402940 w 602133"/>
              <a:gd name="connsiteY68" fmla="*/ 238543 h 460429"/>
              <a:gd name="connsiteX69" fmla="*/ 377577 w 602133"/>
              <a:gd name="connsiteY69" fmla="*/ 233015 h 460429"/>
              <a:gd name="connsiteX70" fmla="*/ 343452 w 602133"/>
              <a:gd name="connsiteY70" fmla="*/ 178661 h 460429"/>
              <a:gd name="connsiteX71" fmla="*/ 402940 w 602133"/>
              <a:gd name="connsiteY71" fmla="*/ 120160 h 460429"/>
              <a:gd name="connsiteX72" fmla="*/ 200081 w 602133"/>
              <a:gd name="connsiteY72" fmla="*/ 120160 h 460429"/>
              <a:gd name="connsiteX73" fmla="*/ 259569 w 602133"/>
              <a:gd name="connsiteY73" fmla="*/ 179582 h 460429"/>
              <a:gd name="connsiteX74" fmla="*/ 259569 w 602133"/>
              <a:gd name="connsiteY74" fmla="*/ 182806 h 460429"/>
              <a:gd name="connsiteX75" fmla="*/ 231900 w 602133"/>
              <a:gd name="connsiteY75" fmla="*/ 229791 h 460429"/>
              <a:gd name="connsiteX76" fmla="*/ 200081 w 602133"/>
              <a:gd name="connsiteY76" fmla="*/ 238543 h 460429"/>
              <a:gd name="connsiteX77" fmla="*/ 140594 w 602133"/>
              <a:gd name="connsiteY77" fmla="*/ 179582 h 460429"/>
              <a:gd name="connsiteX78" fmla="*/ 200081 w 602133"/>
              <a:gd name="connsiteY78" fmla="*/ 120160 h 460429"/>
              <a:gd name="connsiteX79" fmla="*/ 101428 w 602133"/>
              <a:gd name="connsiteY79" fmla="*/ 62190 h 460429"/>
              <a:gd name="connsiteX80" fmla="*/ 160879 w 602133"/>
              <a:gd name="connsiteY80" fmla="*/ 120646 h 460429"/>
              <a:gd name="connsiteX81" fmla="*/ 126315 w 602133"/>
              <a:gd name="connsiteY81" fmla="*/ 175421 h 460429"/>
              <a:gd name="connsiteX82" fmla="*/ 101428 w 602133"/>
              <a:gd name="connsiteY82" fmla="*/ 180944 h 460429"/>
              <a:gd name="connsiteX83" fmla="*/ 41978 w 602133"/>
              <a:gd name="connsiteY83" fmla="*/ 121567 h 460429"/>
              <a:gd name="connsiteX84" fmla="*/ 101428 w 602133"/>
              <a:gd name="connsiteY84" fmla="*/ 62190 h 460429"/>
              <a:gd name="connsiteX85" fmla="*/ 500695 w 602133"/>
              <a:gd name="connsiteY85" fmla="*/ 60339 h 460429"/>
              <a:gd name="connsiteX86" fmla="*/ 560154 w 602133"/>
              <a:gd name="connsiteY86" fmla="*/ 119716 h 460429"/>
              <a:gd name="connsiteX87" fmla="*/ 500695 w 602133"/>
              <a:gd name="connsiteY87" fmla="*/ 179093 h 460429"/>
              <a:gd name="connsiteX88" fmla="*/ 475805 w 602133"/>
              <a:gd name="connsiteY88" fmla="*/ 173570 h 460429"/>
              <a:gd name="connsiteX89" fmla="*/ 441697 w 602133"/>
              <a:gd name="connsiteY89" fmla="*/ 118795 h 460429"/>
              <a:gd name="connsiteX90" fmla="*/ 500695 w 602133"/>
              <a:gd name="connsiteY90" fmla="*/ 60339 h 460429"/>
              <a:gd name="connsiteX91" fmla="*/ 413085 w 602133"/>
              <a:gd name="connsiteY91" fmla="*/ 16140 h 460429"/>
              <a:gd name="connsiteX92" fmla="*/ 468869 w 602133"/>
              <a:gd name="connsiteY92" fmla="*/ 55274 h 460429"/>
              <a:gd name="connsiteX93" fmla="*/ 429221 w 602133"/>
              <a:gd name="connsiteY93" fmla="*/ 112824 h 460429"/>
              <a:gd name="connsiteX94" fmla="*/ 402020 w 602133"/>
              <a:gd name="connsiteY94" fmla="*/ 107760 h 460429"/>
              <a:gd name="connsiteX95" fmla="*/ 370670 w 602133"/>
              <a:gd name="connsiteY95" fmla="*/ 115126 h 460429"/>
              <a:gd name="connsiteX96" fmla="*/ 363294 w 602133"/>
              <a:gd name="connsiteY96" fmla="*/ 105918 h 460429"/>
              <a:gd name="connsiteX97" fmla="*/ 376664 w 602133"/>
              <a:gd name="connsiteY97" fmla="*/ 63561 h 460429"/>
              <a:gd name="connsiteX98" fmla="*/ 370670 w 602133"/>
              <a:gd name="connsiteY98" fmla="*/ 34556 h 460429"/>
              <a:gd name="connsiteX99" fmla="*/ 413085 w 602133"/>
              <a:gd name="connsiteY99" fmla="*/ 16140 h 460429"/>
              <a:gd name="connsiteX100" fmla="*/ 192697 w 602133"/>
              <a:gd name="connsiteY100" fmla="*/ 16140 h 460429"/>
              <a:gd name="connsiteX101" fmla="*/ 231875 w 602133"/>
              <a:gd name="connsiteY101" fmla="*/ 31337 h 460429"/>
              <a:gd name="connsiteX102" fmla="*/ 224501 w 602133"/>
              <a:gd name="connsiteY102" fmla="*/ 63573 h 460429"/>
              <a:gd name="connsiteX103" fmla="*/ 240172 w 602133"/>
              <a:gd name="connsiteY103" fmla="*/ 109165 h 460429"/>
              <a:gd name="connsiteX104" fmla="*/ 233719 w 602133"/>
              <a:gd name="connsiteY104" fmla="*/ 116533 h 460429"/>
              <a:gd name="connsiteX105" fmla="*/ 199150 w 602133"/>
              <a:gd name="connsiteY105" fmla="*/ 107783 h 460429"/>
              <a:gd name="connsiteX106" fmla="*/ 171034 w 602133"/>
              <a:gd name="connsiteY106" fmla="*/ 114230 h 460429"/>
              <a:gd name="connsiteX107" fmla="*/ 136004 w 602133"/>
              <a:gd name="connsiteY107" fmla="*/ 59429 h 460429"/>
              <a:gd name="connsiteX108" fmla="*/ 192697 w 602133"/>
              <a:gd name="connsiteY108" fmla="*/ 16140 h 460429"/>
              <a:gd name="connsiteX109" fmla="*/ 301511 w 602133"/>
              <a:gd name="connsiteY109" fmla="*/ 0 h 460429"/>
              <a:gd name="connsiteX110" fmla="*/ 366033 w 602133"/>
              <a:gd name="connsiteY110" fmla="*/ 64485 h 460429"/>
              <a:gd name="connsiteX111" fmla="*/ 301511 w 602133"/>
              <a:gd name="connsiteY111" fmla="*/ 128970 h 460429"/>
              <a:gd name="connsiteX112" fmla="*/ 236989 w 602133"/>
              <a:gd name="connsiteY112" fmla="*/ 64485 h 460429"/>
              <a:gd name="connsiteX113" fmla="*/ 301511 w 602133"/>
              <a:gd name="connsiteY113" fmla="*/ 0 h 46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602133" h="460429">
                <a:moveTo>
                  <a:pt x="279380" y="303917"/>
                </a:moveTo>
                <a:lnTo>
                  <a:pt x="329638" y="303917"/>
                </a:lnTo>
                <a:cubicBezTo>
                  <a:pt x="371596" y="303917"/>
                  <a:pt x="405716" y="337981"/>
                  <a:pt x="405716" y="379871"/>
                </a:cubicBezTo>
                <a:lnTo>
                  <a:pt x="405716" y="441555"/>
                </a:lnTo>
                <a:lnTo>
                  <a:pt x="405255" y="441555"/>
                </a:lnTo>
                <a:lnTo>
                  <a:pt x="401566" y="443857"/>
                </a:lnTo>
                <a:cubicBezTo>
                  <a:pt x="399261" y="444778"/>
                  <a:pt x="366985" y="460429"/>
                  <a:pt x="311195" y="460429"/>
                </a:cubicBezTo>
                <a:cubicBezTo>
                  <a:pt x="282608" y="460429"/>
                  <a:pt x="247566" y="456286"/>
                  <a:pt x="207452" y="443857"/>
                </a:cubicBezTo>
                <a:lnTo>
                  <a:pt x="203302" y="442476"/>
                </a:lnTo>
                <a:lnTo>
                  <a:pt x="203302" y="441555"/>
                </a:lnTo>
                <a:lnTo>
                  <a:pt x="203302" y="379871"/>
                </a:lnTo>
                <a:cubicBezTo>
                  <a:pt x="203302" y="337981"/>
                  <a:pt x="237422" y="303917"/>
                  <a:pt x="279380" y="303917"/>
                </a:cubicBezTo>
                <a:close/>
                <a:moveTo>
                  <a:pt x="378044" y="242690"/>
                </a:moveTo>
                <a:lnTo>
                  <a:pt x="428312" y="242690"/>
                </a:lnTo>
                <a:cubicBezTo>
                  <a:pt x="470279" y="242690"/>
                  <a:pt x="504406" y="276754"/>
                  <a:pt x="504406" y="318644"/>
                </a:cubicBezTo>
                <a:lnTo>
                  <a:pt x="504406" y="380329"/>
                </a:lnTo>
                <a:lnTo>
                  <a:pt x="503945" y="380329"/>
                </a:lnTo>
                <a:lnTo>
                  <a:pt x="499794" y="382630"/>
                </a:lnTo>
                <a:cubicBezTo>
                  <a:pt x="497950" y="383551"/>
                  <a:pt x="469357" y="397361"/>
                  <a:pt x="420011" y="399202"/>
                </a:cubicBezTo>
                <a:lnTo>
                  <a:pt x="420011" y="380329"/>
                </a:lnTo>
                <a:cubicBezTo>
                  <a:pt x="420011" y="339359"/>
                  <a:pt x="392801" y="304834"/>
                  <a:pt x="355446" y="293787"/>
                </a:cubicBezTo>
                <a:cubicBezTo>
                  <a:pt x="368820" y="280897"/>
                  <a:pt x="377583" y="262944"/>
                  <a:pt x="378044" y="242690"/>
                </a:cubicBezTo>
                <a:close/>
                <a:moveTo>
                  <a:pt x="175210" y="242690"/>
                </a:moveTo>
                <a:lnTo>
                  <a:pt x="225454" y="242690"/>
                </a:lnTo>
                <a:cubicBezTo>
                  <a:pt x="227298" y="242690"/>
                  <a:pt x="229142" y="243150"/>
                  <a:pt x="230986" y="243150"/>
                </a:cubicBezTo>
                <a:cubicBezTo>
                  <a:pt x="231447" y="262947"/>
                  <a:pt x="240205" y="280901"/>
                  <a:pt x="253573" y="293792"/>
                </a:cubicBezTo>
                <a:cubicBezTo>
                  <a:pt x="216235" y="304841"/>
                  <a:pt x="189038" y="339369"/>
                  <a:pt x="189038" y="380343"/>
                </a:cubicBezTo>
                <a:lnTo>
                  <a:pt x="189038" y="398758"/>
                </a:lnTo>
                <a:cubicBezTo>
                  <a:pt x="164146" y="397377"/>
                  <a:pt x="135567" y="392773"/>
                  <a:pt x="103300" y="382645"/>
                </a:cubicBezTo>
                <a:lnTo>
                  <a:pt x="99151" y="381264"/>
                </a:lnTo>
                <a:lnTo>
                  <a:pt x="98690" y="380343"/>
                </a:lnTo>
                <a:lnTo>
                  <a:pt x="98690" y="318652"/>
                </a:lnTo>
                <a:cubicBezTo>
                  <a:pt x="98690" y="276758"/>
                  <a:pt x="133262" y="242690"/>
                  <a:pt x="175210" y="242690"/>
                </a:cubicBezTo>
                <a:close/>
                <a:moveTo>
                  <a:pt x="76056" y="185090"/>
                </a:moveTo>
                <a:lnTo>
                  <a:pt x="126300" y="185090"/>
                </a:lnTo>
                <a:cubicBezTo>
                  <a:pt x="126760" y="204886"/>
                  <a:pt x="135058" y="222841"/>
                  <a:pt x="148886" y="235732"/>
                </a:cubicBezTo>
                <a:cubicBezTo>
                  <a:pt x="111549" y="246781"/>
                  <a:pt x="84353" y="281309"/>
                  <a:pt x="84353" y="322283"/>
                </a:cubicBezTo>
                <a:lnTo>
                  <a:pt x="84353" y="341158"/>
                </a:lnTo>
                <a:cubicBezTo>
                  <a:pt x="34571" y="339316"/>
                  <a:pt x="6453" y="325505"/>
                  <a:pt x="4609" y="324584"/>
                </a:cubicBezTo>
                <a:lnTo>
                  <a:pt x="461" y="322743"/>
                </a:lnTo>
                <a:lnTo>
                  <a:pt x="0" y="322743"/>
                </a:lnTo>
                <a:lnTo>
                  <a:pt x="0" y="261052"/>
                </a:lnTo>
                <a:cubicBezTo>
                  <a:pt x="0" y="219158"/>
                  <a:pt x="34110" y="185090"/>
                  <a:pt x="76056" y="185090"/>
                </a:cubicBezTo>
                <a:close/>
                <a:moveTo>
                  <a:pt x="476280" y="183239"/>
                </a:moveTo>
                <a:lnTo>
                  <a:pt x="526068" y="183239"/>
                </a:lnTo>
                <a:cubicBezTo>
                  <a:pt x="568019" y="183239"/>
                  <a:pt x="602133" y="217307"/>
                  <a:pt x="602133" y="259201"/>
                </a:cubicBezTo>
                <a:lnTo>
                  <a:pt x="602133" y="320432"/>
                </a:lnTo>
                <a:lnTo>
                  <a:pt x="601672" y="320432"/>
                </a:lnTo>
                <a:lnTo>
                  <a:pt x="597984" y="322733"/>
                </a:lnTo>
                <a:cubicBezTo>
                  <a:pt x="596140" y="323654"/>
                  <a:pt x="567558" y="337465"/>
                  <a:pt x="518231" y="339307"/>
                </a:cubicBezTo>
                <a:lnTo>
                  <a:pt x="518231" y="320432"/>
                </a:lnTo>
                <a:cubicBezTo>
                  <a:pt x="518231" y="279458"/>
                  <a:pt x="490571" y="244930"/>
                  <a:pt x="453691" y="233881"/>
                </a:cubicBezTo>
                <a:cubicBezTo>
                  <a:pt x="467060" y="220990"/>
                  <a:pt x="475358" y="203035"/>
                  <a:pt x="476280" y="183239"/>
                </a:cubicBezTo>
                <a:close/>
                <a:moveTo>
                  <a:pt x="304510" y="181462"/>
                </a:moveTo>
                <a:cubicBezTo>
                  <a:pt x="337221" y="181462"/>
                  <a:pt x="363739" y="208046"/>
                  <a:pt x="363739" y="240839"/>
                </a:cubicBezTo>
                <a:cubicBezTo>
                  <a:pt x="363739" y="273632"/>
                  <a:pt x="337221" y="300216"/>
                  <a:pt x="304510" y="300216"/>
                </a:cubicBezTo>
                <a:cubicBezTo>
                  <a:pt x="271799" y="300216"/>
                  <a:pt x="245281" y="273632"/>
                  <a:pt x="245281" y="240839"/>
                </a:cubicBezTo>
                <a:cubicBezTo>
                  <a:pt x="245281" y="208046"/>
                  <a:pt x="271799" y="181462"/>
                  <a:pt x="304510" y="181462"/>
                </a:cubicBezTo>
                <a:close/>
                <a:moveTo>
                  <a:pt x="274338" y="133116"/>
                </a:moveTo>
                <a:lnTo>
                  <a:pt x="328757" y="133116"/>
                </a:lnTo>
                <a:cubicBezTo>
                  <a:pt x="334753" y="133116"/>
                  <a:pt x="340287" y="134037"/>
                  <a:pt x="345821" y="134957"/>
                </a:cubicBezTo>
                <a:cubicBezTo>
                  <a:pt x="337981" y="145545"/>
                  <a:pt x="333369" y="158894"/>
                  <a:pt x="332447" y="172703"/>
                </a:cubicBezTo>
                <a:cubicBezTo>
                  <a:pt x="324145" y="169021"/>
                  <a:pt x="314461" y="166719"/>
                  <a:pt x="304776" y="166719"/>
                </a:cubicBezTo>
                <a:cubicBezTo>
                  <a:pt x="292324" y="166719"/>
                  <a:pt x="280794" y="169941"/>
                  <a:pt x="270648" y="175465"/>
                </a:cubicBezTo>
                <a:cubicBezTo>
                  <a:pt x="270648" y="160275"/>
                  <a:pt x="265575" y="146465"/>
                  <a:pt x="257274" y="134957"/>
                </a:cubicBezTo>
                <a:cubicBezTo>
                  <a:pt x="262808" y="134037"/>
                  <a:pt x="268342" y="133116"/>
                  <a:pt x="274338" y="133116"/>
                </a:cubicBezTo>
                <a:close/>
                <a:moveTo>
                  <a:pt x="402940" y="120160"/>
                </a:moveTo>
                <a:cubicBezTo>
                  <a:pt x="435681" y="120160"/>
                  <a:pt x="462427" y="146416"/>
                  <a:pt x="462427" y="179582"/>
                </a:cubicBezTo>
                <a:cubicBezTo>
                  <a:pt x="462427" y="212287"/>
                  <a:pt x="435681" y="238543"/>
                  <a:pt x="402940" y="238543"/>
                </a:cubicBezTo>
                <a:cubicBezTo>
                  <a:pt x="393717" y="238543"/>
                  <a:pt x="385416" y="236700"/>
                  <a:pt x="377577" y="233015"/>
                </a:cubicBezTo>
                <a:cubicBezTo>
                  <a:pt x="375271" y="209984"/>
                  <a:pt x="362359" y="190176"/>
                  <a:pt x="343452" y="178661"/>
                </a:cubicBezTo>
                <a:cubicBezTo>
                  <a:pt x="343913" y="145956"/>
                  <a:pt x="370198" y="120160"/>
                  <a:pt x="402940" y="120160"/>
                </a:cubicBezTo>
                <a:close/>
                <a:moveTo>
                  <a:pt x="200081" y="120160"/>
                </a:moveTo>
                <a:cubicBezTo>
                  <a:pt x="232823" y="120160"/>
                  <a:pt x="259569" y="146416"/>
                  <a:pt x="259569" y="179582"/>
                </a:cubicBezTo>
                <a:cubicBezTo>
                  <a:pt x="259569" y="180503"/>
                  <a:pt x="259569" y="181424"/>
                  <a:pt x="259569" y="182806"/>
                </a:cubicBezTo>
                <a:cubicBezTo>
                  <a:pt x="244812" y="193861"/>
                  <a:pt x="234667" y="210444"/>
                  <a:pt x="231900" y="229791"/>
                </a:cubicBezTo>
                <a:cubicBezTo>
                  <a:pt x="222677" y="235319"/>
                  <a:pt x="212071" y="238543"/>
                  <a:pt x="200081" y="238543"/>
                </a:cubicBezTo>
                <a:cubicBezTo>
                  <a:pt x="167340" y="238543"/>
                  <a:pt x="140594" y="212287"/>
                  <a:pt x="140594" y="179582"/>
                </a:cubicBezTo>
                <a:cubicBezTo>
                  <a:pt x="140594" y="146416"/>
                  <a:pt x="167340" y="120160"/>
                  <a:pt x="200081" y="120160"/>
                </a:cubicBezTo>
                <a:close/>
                <a:moveTo>
                  <a:pt x="101428" y="62190"/>
                </a:moveTo>
                <a:cubicBezTo>
                  <a:pt x="133688" y="62190"/>
                  <a:pt x="160418" y="88426"/>
                  <a:pt x="160879" y="120646"/>
                </a:cubicBezTo>
                <a:cubicBezTo>
                  <a:pt x="141984" y="132154"/>
                  <a:pt x="128619" y="152406"/>
                  <a:pt x="126315" y="175421"/>
                </a:cubicBezTo>
                <a:cubicBezTo>
                  <a:pt x="118941" y="178643"/>
                  <a:pt x="110185" y="180944"/>
                  <a:pt x="101428" y="180944"/>
                </a:cubicBezTo>
                <a:cubicBezTo>
                  <a:pt x="68708" y="180944"/>
                  <a:pt x="41978" y="154247"/>
                  <a:pt x="41978" y="121567"/>
                </a:cubicBezTo>
                <a:cubicBezTo>
                  <a:pt x="41978" y="88887"/>
                  <a:pt x="68708" y="62190"/>
                  <a:pt x="101428" y="62190"/>
                </a:cubicBezTo>
                <a:close/>
                <a:moveTo>
                  <a:pt x="500695" y="60339"/>
                </a:moveTo>
                <a:cubicBezTo>
                  <a:pt x="533882" y="60339"/>
                  <a:pt x="560154" y="87036"/>
                  <a:pt x="560154" y="119716"/>
                </a:cubicBezTo>
                <a:cubicBezTo>
                  <a:pt x="560154" y="152396"/>
                  <a:pt x="533882" y="179093"/>
                  <a:pt x="500695" y="179093"/>
                </a:cubicBezTo>
                <a:cubicBezTo>
                  <a:pt x="491938" y="179093"/>
                  <a:pt x="483180" y="176792"/>
                  <a:pt x="475805" y="173570"/>
                </a:cubicBezTo>
                <a:cubicBezTo>
                  <a:pt x="473501" y="150095"/>
                  <a:pt x="460134" y="130303"/>
                  <a:pt x="441697" y="118795"/>
                </a:cubicBezTo>
                <a:cubicBezTo>
                  <a:pt x="442158" y="86575"/>
                  <a:pt x="468431" y="60339"/>
                  <a:pt x="500695" y="60339"/>
                </a:cubicBezTo>
                <a:close/>
                <a:moveTo>
                  <a:pt x="413085" y="16140"/>
                </a:moveTo>
                <a:cubicBezTo>
                  <a:pt x="438441" y="16140"/>
                  <a:pt x="460571" y="31794"/>
                  <a:pt x="468869" y="55274"/>
                </a:cubicBezTo>
                <a:cubicBezTo>
                  <a:pt x="446279" y="66324"/>
                  <a:pt x="431526" y="87962"/>
                  <a:pt x="429221" y="112824"/>
                </a:cubicBezTo>
                <a:cubicBezTo>
                  <a:pt x="422766" y="110522"/>
                  <a:pt x="412624" y="107760"/>
                  <a:pt x="402020" y="107760"/>
                </a:cubicBezTo>
                <a:cubicBezTo>
                  <a:pt x="390956" y="107760"/>
                  <a:pt x="380352" y="110062"/>
                  <a:pt x="370670" y="115126"/>
                </a:cubicBezTo>
                <a:cubicBezTo>
                  <a:pt x="367904" y="112364"/>
                  <a:pt x="365599" y="109141"/>
                  <a:pt x="363294" y="105918"/>
                </a:cubicBezTo>
                <a:cubicBezTo>
                  <a:pt x="372054" y="93487"/>
                  <a:pt x="376664" y="78754"/>
                  <a:pt x="376664" y="63561"/>
                </a:cubicBezTo>
                <a:cubicBezTo>
                  <a:pt x="376664" y="53432"/>
                  <a:pt x="374359" y="43764"/>
                  <a:pt x="370670" y="34556"/>
                </a:cubicBezTo>
                <a:cubicBezTo>
                  <a:pt x="381735" y="22586"/>
                  <a:pt x="396949" y="16140"/>
                  <a:pt x="413085" y="16140"/>
                </a:cubicBezTo>
                <a:close/>
                <a:moveTo>
                  <a:pt x="192697" y="16140"/>
                </a:moveTo>
                <a:cubicBezTo>
                  <a:pt x="207447" y="16140"/>
                  <a:pt x="221274" y="21206"/>
                  <a:pt x="231875" y="31337"/>
                </a:cubicBezTo>
                <a:cubicBezTo>
                  <a:pt x="227266" y="41008"/>
                  <a:pt x="224501" y="52060"/>
                  <a:pt x="224501" y="63573"/>
                </a:cubicBezTo>
                <a:cubicBezTo>
                  <a:pt x="224501" y="80152"/>
                  <a:pt x="230032" y="96270"/>
                  <a:pt x="240172" y="109165"/>
                </a:cubicBezTo>
                <a:cubicBezTo>
                  <a:pt x="238328" y="111928"/>
                  <a:pt x="236024" y="114230"/>
                  <a:pt x="233719" y="116533"/>
                </a:cubicBezTo>
                <a:cubicBezTo>
                  <a:pt x="223118" y="111007"/>
                  <a:pt x="211134" y="107783"/>
                  <a:pt x="199150" y="107783"/>
                </a:cubicBezTo>
                <a:cubicBezTo>
                  <a:pt x="189010" y="107783"/>
                  <a:pt x="177948" y="111467"/>
                  <a:pt x="171034" y="114230"/>
                </a:cubicBezTo>
                <a:cubicBezTo>
                  <a:pt x="168729" y="91204"/>
                  <a:pt x="155824" y="70942"/>
                  <a:pt x="136004" y="59429"/>
                </a:cubicBezTo>
                <a:cubicBezTo>
                  <a:pt x="142457" y="34100"/>
                  <a:pt x="165964" y="16140"/>
                  <a:pt x="192697" y="16140"/>
                </a:cubicBezTo>
                <a:close/>
                <a:moveTo>
                  <a:pt x="301511" y="0"/>
                </a:moveTo>
                <a:cubicBezTo>
                  <a:pt x="337146" y="0"/>
                  <a:pt x="366033" y="28871"/>
                  <a:pt x="366033" y="64485"/>
                </a:cubicBezTo>
                <a:cubicBezTo>
                  <a:pt x="366033" y="100099"/>
                  <a:pt x="337146" y="128970"/>
                  <a:pt x="301511" y="128970"/>
                </a:cubicBezTo>
                <a:cubicBezTo>
                  <a:pt x="265876" y="128970"/>
                  <a:pt x="236989" y="100099"/>
                  <a:pt x="236989" y="64485"/>
                </a:cubicBezTo>
                <a:cubicBezTo>
                  <a:pt x="236989" y="28871"/>
                  <a:pt x="265876" y="0"/>
                  <a:pt x="30151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3531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A6E5A0-1ED6-4453-B403-9B92761D3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>
                <a:cs typeface="Arial"/>
              </a:rPr>
              <a:t>Motivation</a:t>
            </a:r>
            <a:r>
              <a:rPr lang="zh-CN" altLang="en-US">
                <a:cs typeface="Arial"/>
              </a:rPr>
              <a:t> </a:t>
            </a:r>
            <a:r>
              <a:rPr lang="en-US" altLang="zh-CN">
                <a:cs typeface="Arial"/>
              </a:rPr>
              <a:t>–</a:t>
            </a:r>
            <a:r>
              <a:rPr lang="zh-CN" altLang="en-US">
                <a:cs typeface="Arial"/>
              </a:rPr>
              <a:t> Why deep learning and why social media?</a:t>
            </a:r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2D7E8BB-BC9A-4EB4-B939-E2DEE946BF07}"/>
              </a:ext>
            </a:extLst>
          </p:cNvPr>
          <p:cNvSpPr txBox="1"/>
          <p:nvPr/>
        </p:nvSpPr>
        <p:spPr>
          <a:xfrm>
            <a:off x="765143" y="1417163"/>
            <a:ext cx="10771694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2800">
                <a:latin typeface="Calibri" panose="020F0502020204030204" pitchFamily="34" charset="0"/>
                <a:cs typeface="Calibri" panose="020F0502020204030204" pitchFamily="34" charset="0"/>
              </a:rPr>
              <a:t>Deep learning is </a:t>
            </a:r>
            <a:r>
              <a:rPr lang="zh-CN" altLang="en-US" sz="2800" b="1">
                <a:solidFill>
                  <a:schemeClr val="accent2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f</a:t>
            </a:r>
            <a:r>
              <a:rPr lang="zh-CN" sz="2800" b="1">
                <a:solidFill>
                  <a:schemeClr val="accent2"/>
                </a:solidFill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lexible, scalable </a:t>
            </a:r>
            <a:r>
              <a:rPr lang="en-US" altLang="zh-CN" sz="2800"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and</a:t>
            </a:r>
            <a:r>
              <a:rPr lang="zh-CN" sz="2800"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 </a:t>
            </a:r>
            <a:r>
              <a:rPr lang="zh-CN" sz="2800" b="1">
                <a:solidFill>
                  <a:schemeClr val="accent2"/>
                </a:solidFill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efficient</a:t>
            </a:r>
            <a:r>
              <a:rPr lang="zh-CN" sz="2800"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 technology</a:t>
            </a:r>
            <a:r>
              <a:rPr lang="en-US" altLang="zh-CN" sz="2800"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.</a:t>
            </a:r>
            <a:r>
              <a:rPr lang="zh-CN" altLang="en-US" sz="2800"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 </a:t>
            </a:r>
          </a:p>
          <a:p>
            <a:endParaRPr lang="en-US" altLang="zh-CN" sz="28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zh-CN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2800">
                <a:latin typeface="Calibri" panose="020F0502020204030204" pitchFamily="34" charset="0"/>
                <a:cs typeface="Calibri" panose="020F0502020204030204" pitchFamily="34" charset="0"/>
              </a:rPr>
              <a:t>Data on social media is </a:t>
            </a:r>
            <a:r>
              <a:rPr lang="zh-CN" altLang="en-US" sz="28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sy to get </a:t>
            </a:r>
            <a:r>
              <a:rPr lang="zh-CN" altLang="en-US" sz="2800">
                <a:latin typeface="Calibri" panose="020F0502020204030204" pitchFamily="34" charset="0"/>
                <a:cs typeface="Calibri" panose="020F0502020204030204" pitchFamily="34" charset="0"/>
              </a:rPr>
              <a:t>and </a:t>
            </a:r>
            <a:r>
              <a:rPr lang="en-US" altLang="zh-CN" sz="2800"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zh-CN" altLang="en-US" sz="28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8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flect</a:t>
            </a:r>
            <a:r>
              <a:rPr lang="zh-CN" altLang="en-US" sz="28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zh-CN" altLang="en-US" sz="2800">
                <a:latin typeface="Calibri" panose="020F0502020204030204" pitchFamily="34" charset="0"/>
                <a:cs typeface="Calibri" panose="020F0502020204030204" pitchFamily="34" charset="0"/>
              </a:rPr>
              <a:t>the spread of C</a:t>
            </a:r>
            <a:r>
              <a:rPr lang="en-US" altLang="zh-CN" sz="2800">
                <a:latin typeface="Calibri" panose="020F0502020204030204" pitchFamily="34" charset="0"/>
                <a:cs typeface="Calibri" panose="020F0502020204030204" pitchFamily="34" charset="0"/>
              </a:rPr>
              <a:t>OVID</a:t>
            </a:r>
            <a:endParaRPr lang="zh-CN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zh-CN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图片 4">
            <a:extLst>
              <a:ext uri="{FF2B5EF4-FFF2-40B4-BE49-F238E27FC236}">
                <a16:creationId xmlns:a16="http://schemas.microsoft.com/office/drawing/2014/main" id="{7852D74F-FED9-4656-B074-D80388777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2000" y="4262235"/>
            <a:ext cx="1242800" cy="1093664"/>
          </a:xfrm>
          <a:prstGeom prst="rect">
            <a:avLst/>
          </a:prstGeom>
        </p:spPr>
      </p:pic>
      <p:pic>
        <p:nvPicPr>
          <p:cNvPr id="5" name="图片 5" descr="徽标&#10;&#10;已自动生成说明">
            <a:extLst>
              <a:ext uri="{FF2B5EF4-FFF2-40B4-BE49-F238E27FC236}">
                <a16:creationId xmlns:a16="http://schemas.microsoft.com/office/drawing/2014/main" id="{47AA88BC-8816-4087-A9D3-78BB6EF9E4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3400" y="4262235"/>
            <a:ext cx="2743200" cy="1157535"/>
          </a:xfrm>
          <a:prstGeom prst="rect">
            <a:avLst/>
          </a:prstGeom>
        </p:spPr>
      </p:pic>
      <p:pic>
        <p:nvPicPr>
          <p:cNvPr id="6" name="图片 6" descr="图标&#10;&#10;已自动生成说明">
            <a:extLst>
              <a:ext uri="{FF2B5EF4-FFF2-40B4-BE49-F238E27FC236}">
                <a16:creationId xmlns:a16="http://schemas.microsoft.com/office/drawing/2014/main" id="{4EF31FEF-A6E4-42A6-A39E-CB6C71D4339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807" t="3295" r="13858" b="20062"/>
          <a:stretch/>
        </p:blipFill>
        <p:spPr>
          <a:xfrm>
            <a:off x="7315200" y="4177296"/>
            <a:ext cx="1242800" cy="12635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65457F0-9297-A64C-836F-58AD77822F5C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03</a:t>
            </a:r>
            <a:endParaRPr lang="en-US" sz="14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9945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092323" y="2056587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4000"/>
              <a:t>Data</a:t>
            </a:r>
            <a:endParaRPr lang="zh-CN" altLang="en-US" sz="400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3092322" y="2879743"/>
            <a:ext cx="5419185" cy="605594"/>
          </a:xfrm>
        </p:spPr>
        <p:txBody>
          <a:bodyPr>
            <a:normAutofit/>
          </a:bodyPr>
          <a:lstStyle/>
          <a:p>
            <a:pPr lvl="0"/>
            <a:r>
              <a:rPr lang="en-US" altLang="zh-CN" sz="1400"/>
              <a:t>Tweet</a:t>
            </a:r>
            <a:r>
              <a:rPr lang="zh-CN" altLang="en-US" sz="1400"/>
              <a:t> </a:t>
            </a:r>
            <a:r>
              <a:rPr lang="en-US" altLang="zh-CN" sz="1400"/>
              <a:t>Data</a:t>
            </a:r>
            <a:r>
              <a:rPr lang="zh-CN" altLang="en-US" sz="1400"/>
              <a:t> </a:t>
            </a:r>
            <a:r>
              <a:rPr lang="en-US" altLang="zh-CN" sz="1400"/>
              <a:t>Collection,</a:t>
            </a:r>
            <a:r>
              <a:rPr lang="zh-CN" altLang="en-US" sz="1400"/>
              <a:t> </a:t>
            </a:r>
            <a:r>
              <a:rPr lang="en-US" altLang="zh-CN" sz="1400"/>
              <a:t>Other</a:t>
            </a:r>
            <a:r>
              <a:rPr lang="zh-CN" altLang="en-US" sz="1400"/>
              <a:t> </a:t>
            </a:r>
            <a:r>
              <a:rPr lang="en-US" altLang="zh-CN" sz="1400"/>
              <a:t>Data</a:t>
            </a:r>
            <a:r>
              <a:rPr lang="zh-CN" altLang="en-US" sz="1400"/>
              <a:t> </a:t>
            </a:r>
            <a:r>
              <a:rPr lang="en-US" altLang="zh-CN" sz="1400"/>
              <a:t>Sources</a:t>
            </a:r>
            <a:endParaRPr lang="zh-CN" altLang="en-US" sz="140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291830" y="2056587"/>
            <a:ext cx="1800493" cy="14465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88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z="880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5325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A6E5A0-1ED6-4453-B403-9B92761D3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cs typeface="Arial"/>
              </a:rPr>
              <a:t>Tweet </a:t>
            </a:r>
            <a:r>
              <a:rPr lang="en-US" altLang="zh-CN">
                <a:cs typeface="Arial"/>
              </a:rPr>
              <a:t>D</a:t>
            </a:r>
            <a:r>
              <a:rPr lang="zh-CN" altLang="en-US">
                <a:cs typeface="Arial"/>
              </a:rPr>
              <a:t>ata </a:t>
            </a:r>
            <a:r>
              <a:rPr lang="en-US" altLang="zh-CN">
                <a:cs typeface="Arial"/>
              </a:rPr>
              <a:t>C</a:t>
            </a:r>
            <a:r>
              <a:rPr lang="zh-CN" altLang="en-US">
                <a:cs typeface="Arial"/>
              </a:rPr>
              <a:t>ollection </a:t>
            </a:r>
            <a:endParaRPr lang="zh-CN" altLang="en-US"/>
          </a:p>
        </p:txBody>
      </p:sp>
      <p:pic>
        <p:nvPicPr>
          <p:cNvPr id="5" name="图片 5" descr="图示&#10;&#10;已自动生成说明">
            <a:extLst>
              <a:ext uri="{FF2B5EF4-FFF2-40B4-BE49-F238E27FC236}">
                <a16:creationId xmlns:a16="http://schemas.microsoft.com/office/drawing/2014/main" id="{627D7109-EC9F-4A58-A412-1CFCC8FCF0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028700"/>
            <a:ext cx="11258745" cy="4900771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D582D663-7603-4DF6-8414-18F34F57277C}"/>
              </a:ext>
            </a:extLst>
          </p:cNvPr>
          <p:cNvSpPr txBox="1"/>
          <p:nvPr/>
        </p:nvSpPr>
        <p:spPr>
          <a:xfrm>
            <a:off x="934039" y="4913808"/>
            <a:ext cx="7676560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altLang="zh-CN" sz="20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</a:t>
            </a:r>
            <a:r>
              <a:rPr lang="zh-CN" altLang="en-US" sz="20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nge:</a:t>
            </a:r>
            <a:r>
              <a:rPr lang="zh-CN" altLang="en-US" sz="20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2020-08-01 to 2020-11-30</a:t>
            </a:r>
            <a:endParaRPr lang="en-US" altLang="zh-CN" sz="20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zh-CN" sz="20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altLang="zh-CN" sz="20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ntity:</a:t>
            </a:r>
            <a:r>
              <a:rPr lang="zh-CN" altLang="en-US" sz="20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1,500 useful tweets per hour</a:t>
            </a:r>
            <a:r>
              <a:rPr lang="en-US" altLang="zh-CN" sz="200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r>
              <a:rPr lang="zh-CN" altLang="en-US" sz="2000">
                <a:latin typeface="Calibri" panose="020F0502020204030204" pitchFamily="34" charset="0"/>
                <a:cs typeface="Calibri" panose="020F0502020204030204" pitchFamily="34" charset="0"/>
              </a:rPr>
              <a:t> 36,000 per day</a:t>
            </a:r>
          </a:p>
        </p:txBody>
      </p:sp>
      <p:sp>
        <p:nvSpPr>
          <p:cNvPr id="8" name="clock_151770">
            <a:extLst>
              <a:ext uri="{FF2B5EF4-FFF2-40B4-BE49-F238E27FC236}">
                <a16:creationId xmlns:a16="http://schemas.microsoft.com/office/drawing/2014/main" id="{5BE3EBE5-17FB-C141-9603-208058FECF23}"/>
              </a:ext>
            </a:extLst>
          </p:cNvPr>
          <p:cNvSpPr/>
          <p:nvPr/>
        </p:nvSpPr>
        <p:spPr>
          <a:xfrm>
            <a:off x="497139" y="4939208"/>
            <a:ext cx="345570" cy="341312"/>
          </a:xfrm>
          <a:custGeom>
            <a:avLst/>
            <a:gdLst>
              <a:gd name="connsiteX0" fmla="*/ 299759 w 600935"/>
              <a:gd name="connsiteY0" fmla="*/ 131393 h 600088"/>
              <a:gd name="connsiteX1" fmla="*/ 321625 w 600935"/>
              <a:gd name="connsiteY1" fmla="*/ 153235 h 600088"/>
              <a:gd name="connsiteX2" fmla="*/ 321625 w 600935"/>
              <a:gd name="connsiteY2" fmla="*/ 319735 h 600088"/>
              <a:gd name="connsiteX3" fmla="*/ 402280 w 600935"/>
              <a:gd name="connsiteY3" fmla="*/ 365567 h 600088"/>
              <a:gd name="connsiteX4" fmla="*/ 410524 w 600935"/>
              <a:gd name="connsiteY4" fmla="*/ 395286 h 600088"/>
              <a:gd name="connsiteX5" fmla="*/ 391526 w 600935"/>
              <a:gd name="connsiteY5" fmla="*/ 406386 h 600088"/>
              <a:gd name="connsiteX6" fmla="*/ 380772 w 600935"/>
              <a:gd name="connsiteY6" fmla="*/ 403522 h 600088"/>
              <a:gd name="connsiteX7" fmla="*/ 288647 w 600935"/>
              <a:gd name="connsiteY7" fmla="*/ 351602 h 600088"/>
              <a:gd name="connsiteX8" fmla="*/ 287930 w 600935"/>
              <a:gd name="connsiteY8" fmla="*/ 351244 h 600088"/>
              <a:gd name="connsiteX9" fmla="*/ 286137 w 600935"/>
              <a:gd name="connsiteY9" fmla="*/ 349812 h 600088"/>
              <a:gd name="connsiteX10" fmla="*/ 284704 w 600935"/>
              <a:gd name="connsiteY10" fmla="*/ 348738 h 600088"/>
              <a:gd name="connsiteX11" fmla="*/ 283270 w 600935"/>
              <a:gd name="connsiteY11" fmla="*/ 346948 h 600088"/>
              <a:gd name="connsiteX12" fmla="*/ 281836 w 600935"/>
              <a:gd name="connsiteY12" fmla="*/ 345515 h 600088"/>
              <a:gd name="connsiteX13" fmla="*/ 280760 w 600935"/>
              <a:gd name="connsiteY13" fmla="*/ 343725 h 600088"/>
              <a:gd name="connsiteX14" fmla="*/ 279685 w 600935"/>
              <a:gd name="connsiteY14" fmla="*/ 341935 h 600088"/>
              <a:gd name="connsiteX15" fmla="*/ 278968 w 600935"/>
              <a:gd name="connsiteY15" fmla="*/ 339786 h 600088"/>
              <a:gd name="connsiteX16" fmla="*/ 278251 w 600935"/>
              <a:gd name="connsiteY16" fmla="*/ 337996 h 600088"/>
              <a:gd name="connsiteX17" fmla="*/ 277893 w 600935"/>
              <a:gd name="connsiteY17" fmla="*/ 335848 h 600088"/>
              <a:gd name="connsiteX18" fmla="*/ 277534 w 600935"/>
              <a:gd name="connsiteY18" fmla="*/ 333341 h 600088"/>
              <a:gd name="connsiteX19" fmla="*/ 277534 w 600935"/>
              <a:gd name="connsiteY19" fmla="*/ 332625 h 600088"/>
              <a:gd name="connsiteX20" fmla="*/ 277534 w 600935"/>
              <a:gd name="connsiteY20" fmla="*/ 153235 h 600088"/>
              <a:gd name="connsiteX21" fmla="*/ 299759 w 600935"/>
              <a:gd name="connsiteY21" fmla="*/ 131393 h 600088"/>
              <a:gd name="connsiteX22" fmla="*/ 281106 w 600935"/>
              <a:gd name="connsiteY22" fmla="*/ 48695 h 600088"/>
              <a:gd name="connsiteX23" fmla="*/ 48046 w 600935"/>
              <a:gd name="connsiteY23" fmla="*/ 297538 h 600088"/>
              <a:gd name="connsiteX24" fmla="*/ 95734 w 600935"/>
              <a:gd name="connsiteY24" fmla="*/ 297538 h 600088"/>
              <a:gd name="connsiteX25" fmla="*/ 95734 w 600935"/>
              <a:gd name="connsiteY25" fmla="*/ 335849 h 600088"/>
              <a:gd name="connsiteX26" fmla="*/ 50556 w 600935"/>
              <a:gd name="connsiteY26" fmla="*/ 335849 h 600088"/>
              <a:gd name="connsiteX27" fmla="*/ 281106 w 600935"/>
              <a:gd name="connsiteY27" fmla="*/ 551394 h 600088"/>
              <a:gd name="connsiteX28" fmla="*/ 281106 w 600935"/>
              <a:gd name="connsiteY28" fmla="*/ 507712 h 600088"/>
              <a:gd name="connsiteX29" fmla="*/ 319471 w 600935"/>
              <a:gd name="connsiteY29" fmla="*/ 507712 h 600088"/>
              <a:gd name="connsiteX30" fmla="*/ 319471 w 600935"/>
              <a:gd name="connsiteY30" fmla="*/ 551394 h 600088"/>
              <a:gd name="connsiteX31" fmla="*/ 550379 w 600935"/>
              <a:gd name="connsiteY31" fmla="*/ 335849 h 600088"/>
              <a:gd name="connsiteX32" fmla="*/ 507711 w 600935"/>
              <a:gd name="connsiteY32" fmla="*/ 335849 h 600088"/>
              <a:gd name="connsiteX33" fmla="*/ 507711 w 600935"/>
              <a:gd name="connsiteY33" fmla="*/ 297538 h 600088"/>
              <a:gd name="connsiteX34" fmla="*/ 552889 w 600935"/>
              <a:gd name="connsiteY34" fmla="*/ 297538 h 600088"/>
              <a:gd name="connsiteX35" fmla="*/ 319471 w 600935"/>
              <a:gd name="connsiteY35" fmla="*/ 48695 h 600088"/>
              <a:gd name="connsiteX36" fmla="*/ 319471 w 600935"/>
              <a:gd name="connsiteY36" fmla="*/ 92377 h 600088"/>
              <a:gd name="connsiteX37" fmla="*/ 281106 w 600935"/>
              <a:gd name="connsiteY37" fmla="*/ 92377 h 600088"/>
              <a:gd name="connsiteX38" fmla="*/ 300468 w 600935"/>
              <a:gd name="connsiteY38" fmla="*/ 0 h 600088"/>
              <a:gd name="connsiteX39" fmla="*/ 600935 w 600935"/>
              <a:gd name="connsiteY39" fmla="*/ 300044 h 600088"/>
              <a:gd name="connsiteX40" fmla="*/ 300468 w 600935"/>
              <a:gd name="connsiteY40" fmla="*/ 600088 h 600088"/>
              <a:gd name="connsiteX41" fmla="*/ 0 w 600935"/>
              <a:gd name="connsiteY41" fmla="*/ 300044 h 600088"/>
              <a:gd name="connsiteX42" fmla="*/ 300468 w 600935"/>
              <a:gd name="connsiteY42" fmla="*/ 0 h 600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0935" h="600088">
                <a:moveTo>
                  <a:pt x="299759" y="131393"/>
                </a:moveTo>
                <a:cubicBezTo>
                  <a:pt x="311588" y="131393"/>
                  <a:pt x="321625" y="141061"/>
                  <a:pt x="321625" y="153235"/>
                </a:cubicBezTo>
                <a:lnTo>
                  <a:pt x="321625" y="319735"/>
                </a:lnTo>
                <a:lnTo>
                  <a:pt x="402280" y="365567"/>
                </a:lnTo>
                <a:cubicBezTo>
                  <a:pt x="413034" y="371296"/>
                  <a:pt x="416618" y="384902"/>
                  <a:pt x="410524" y="395286"/>
                </a:cubicBezTo>
                <a:cubicBezTo>
                  <a:pt x="406581" y="402448"/>
                  <a:pt x="399054" y="406386"/>
                  <a:pt x="391526" y="406386"/>
                </a:cubicBezTo>
                <a:cubicBezTo>
                  <a:pt x="387941" y="406386"/>
                  <a:pt x="383998" y="405670"/>
                  <a:pt x="380772" y="403522"/>
                </a:cubicBezTo>
                <a:lnTo>
                  <a:pt x="288647" y="351602"/>
                </a:lnTo>
                <a:cubicBezTo>
                  <a:pt x="288647" y="351602"/>
                  <a:pt x="288288" y="351602"/>
                  <a:pt x="287930" y="351244"/>
                </a:cubicBezTo>
                <a:cubicBezTo>
                  <a:pt x="287571" y="350886"/>
                  <a:pt x="286854" y="350528"/>
                  <a:pt x="286137" y="349812"/>
                </a:cubicBezTo>
                <a:cubicBezTo>
                  <a:pt x="285779" y="349454"/>
                  <a:pt x="285062" y="349096"/>
                  <a:pt x="284704" y="348738"/>
                </a:cubicBezTo>
                <a:cubicBezTo>
                  <a:pt x="283987" y="348022"/>
                  <a:pt x="283628" y="347664"/>
                  <a:pt x="283270" y="346948"/>
                </a:cubicBezTo>
                <a:cubicBezTo>
                  <a:pt x="282553" y="346590"/>
                  <a:pt x="282194" y="345873"/>
                  <a:pt x="281836" y="345515"/>
                </a:cubicBezTo>
                <a:cubicBezTo>
                  <a:pt x="281477" y="344799"/>
                  <a:pt x="281119" y="344441"/>
                  <a:pt x="280760" y="343725"/>
                </a:cubicBezTo>
                <a:cubicBezTo>
                  <a:pt x="280402" y="343009"/>
                  <a:pt x="280043" y="342293"/>
                  <a:pt x="279685" y="341935"/>
                </a:cubicBezTo>
                <a:cubicBezTo>
                  <a:pt x="279327" y="341219"/>
                  <a:pt x="279327" y="340503"/>
                  <a:pt x="278968" y="339786"/>
                </a:cubicBezTo>
                <a:cubicBezTo>
                  <a:pt x="278610" y="339070"/>
                  <a:pt x="278610" y="338354"/>
                  <a:pt x="278251" y="337996"/>
                </a:cubicBezTo>
                <a:cubicBezTo>
                  <a:pt x="278251" y="337280"/>
                  <a:pt x="277893" y="336564"/>
                  <a:pt x="277893" y="335848"/>
                </a:cubicBezTo>
                <a:cubicBezTo>
                  <a:pt x="277893" y="335132"/>
                  <a:pt x="277893" y="334415"/>
                  <a:pt x="277534" y="333341"/>
                </a:cubicBezTo>
                <a:cubicBezTo>
                  <a:pt x="277534" y="333341"/>
                  <a:pt x="277534" y="332983"/>
                  <a:pt x="277534" y="332625"/>
                </a:cubicBezTo>
                <a:lnTo>
                  <a:pt x="277534" y="153235"/>
                </a:lnTo>
                <a:cubicBezTo>
                  <a:pt x="277534" y="141061"/>
                  <a:pt x="287571" y="131393"/>
                  <a:pt x="299759" y="131393"/>
                </a:cubicBezTo>
                <a:close/>
                <a:moveTo>
                  <a:pt x="281106" y="48695"/>
                </a:moveTo>
                <a:cubicBezTo>
                  <a:pt x="151668" y="58362"/>
                  <a:pt x="49122" y="166134"/>
                  <a:pt x="48046" y="297538"/>
                </a:cubicBezTo>
                <a:lnTo>
                  <a:pt x="95734" y="297538"/>
                </a:lnTo>
                <a:lnTo>
                  <a:pt x="95734" y="335849"/>
                </a:lnTo>
                <a:lnTo>
                  <a:pt x="50556" y="335849"/>
                </a:lnTo>
                <a:cubicBezTo>
                  <a:pt x="67050" y="451856"/>
                  <a:pt x="162783" y="542443"/>
                  <a:pt x="281106" y="551394"/>
                </a:cubicBezTo>
                <a:lnTo>
                  <a:pt x="281106" y="507712"/>
                </a:lnTo>
                <a:lnTo>
                  <a:pt x="319471" y="507712"/>
                </a:lnTo>
                <a:lnTo>
                  <a:pt x="319471" y="551394"/>
                </a:lnTo>
                <a:cubicBezTo>
                  <a:pt x="437794" y="542443"/>
                  <a:pt x="533886" y="451856"/>
                  <a:pt x="550379" y="335849"/>
                </a:cubicBezTo>
                <a:lnTo>
                  <a:pt x="507711" y="335849"/>
                </a:lnTo>
                <a:lnTo>
                  <a:pt x="507711" y="297538"/>
                </a:lnTo>
                <a:lnTo>
                  <a:pt x="552889" y="297538"/>
                </a:lnTo>
                <a:cubicBezTo>
                  <a:pt x="551813" y="166134"/>
                  <a:pt x="449267" y="58362"/>
                  <a:pt x="319471" y="48695"/>
                </a:cubicBezTo>
                <a:lnTo>
                  <a:pt x="319471" y="92377"/>
                </a:lnTo>
                <a:lnTo>
                  <a:pt x="281106" y="92377"/>
                </a:lnTo>
                <a:close/>
                <a:moveTo>
                  <a:pt x="300468" y="0"/>
                </a:moveTo>
                <a:cubicBezTo>
                  <a:pt x="466119" y="0"/>
                  <a:pt x="600935" y="134626"/>
                  <a:pt x="600935" y="300044"/>
                </a:cubicBezTo>
                <a:cubicBezTo>
                  <a:pt x="600935" y="465462"/>
                  <a:pt x="466119" y="600088"/>
                  <a:pt x="300468" y="600088"/>
                </a:cubicBezTo>
                <a:cubicBezTo>
                  <a:pt x="134816" y="600088"/>
                  <a:pt x="0" y="465462"/>
                  <a:pt x="0" y="300044"/>
                </a:cubicBezTo>
                <a:cubicBezTo>
                  <a:pt x="0" y="134626"/>
                  <a:pt x="134816" y="0"/>
                  <a:pt x="30046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ode_100878">
            <a:extLst>
              <a:ext uri="{FF2B5EF4-FFF2-40B4-BE49-F238E27FC236}">
                <a16:creationId xmlns:a16="http://schemas.microsoft.com/office/drawing/2014/main" id="{88A2AD4E-3618-8042-BF82-69F10D146CCE}"/>
              </a:ext>
            </a:extLst>
          </p:cNvPr>
          <p:cNvSpPr>
            <a:spLocks noChangeAspect="1"/>
          </p:cNvSpPr>
          <p:nvPr/>
        </p:nvSpPr>
        <p:spPr>
          <a:xfrm>
            <a:off x="497139" y="5572999"/>
            <a:ext cx="345570" cy="341312"/>
          </a:xfrm>
          <a:custGeom>
            <a:avLst/>
            <a:gdLst>
              <a:gd name="connsiteX0" fmla="*/ 70686 w 559569"/>
              <a:gd name="connsiteY0" fmla="*/ 360940 h 603617"/>
              <a:gd name="connsiteX1" fmla="*/ 58830 w 559569"/>
              <a:gd name="connsiteY1" fmla="*/ 377419 h 603617"/>
              <a:gd name="connsiteX2" fmla="*/ 70686 w 559569"/>
              <a:gd name="connsiteY2" fmla="*/ 377419 h 603617"/>
              <a:gd name="connsiteX3" fmla="*/ 330753 w 559569"/>
              <a:gd name="connsiteY3" fmla="*/ 296808 h 603617"/>
              <a:gd name="connsiteX4" fmla="*/ 275227 w 559569"/>
              <a:gd name="connsiteY4" fmla="*/ 319729 h 603617"/>
              <a:gd name="connsiteX5" fmla="*/ 275227 w 559569"/>
              <a:gd name="connsiteY5" fmla="*/ 430588 h 603617"/>
              <a:gd name="connsiteX6" fmla="*/ 386278 w 559569"/>
              <a:gd name="connsiteY6" fmla="*/ 430588 h 603617"/>
              <a:gd name="connsiteX7" fmla="*/ 386278 w 559569"/>
              <a:gd name="connsiteY7" fmla="*/ 319729 h 603617"/>
              <a:gd name="connsiteX8" fmla="*/ 330753 w 559569"/>
              <a:gd name="connsiteY8" fmla="*/ 296808 h 603617"/>
              <a:gd name="connsiteX9" fmla="*/ 80141 w 559569"/>
              <a:gd name="connsiteY9" fmla="*/ 283038 h 603617"/>
              <a:gd name="connsiteX10" fmla="*/ 104453 w 559569"/>
              <a:gd name="connsiteY10" fmla="*/ 283038 h 603617"/>
              <a:gd name="connsiteX11" fmla="*/ 116009 w 559569"/>
              <a:gd name="connsiteY11" fmla="*/ 294574 h 603617"/>
              <a:gd name="connsiteX12" fmla="*/ 116009 w 559569"/>
              <a:gd name="connsiteY12" fmla="*/ 377419 h 603617"/>
              <a:gd name="connsiteX13" fmla="*/ 125764 w 559569"/>
              <a:gd name="connsiteY13" fmla="*/ 377419 h 603617"/>
              <a:gd name="connsiteX14" fmla="*/ 137320 w 559569"/>
              <a:gd name="connsiteY14" fmla="*/ 388954 h 603617"/>
              <a:gd name="connsiteX15" fmla="*/ 137320 w 559569"/>
              <a:gd name="connsiteY15" fmla="*/ 407830 h 603617"/>
              <a:gd name="connsiteX16" fmla="*/ 125764 w 559569"/>
              <a:gd name="connsiteY16" fmla="*/ 419516 h 603617"/>
              <a:gd name="connsiteX17" fmla="*/ 116009 w 559569"/>
              <a:gd name="connsiteY17" fmla="*/ 419516 h 603617"/>
              <a:gd name="connsiteX18" fmla="*/ 116009 w 559569"/>
              <a:gd name="connsiteY18" fmla="*/ 449328 h 603617"/>
              <a:gd name="connsiteX19" fmla="*/ 104453 w 559569"/>
              <a:gd name="connsiteY19" fmla="*/ 460863 h 603617"/>
              <a:gd name="connsiteX20" fmla="*/ 82242 w 559569"/>
              <a:gd name="connsiteY20" fmla="*/ 460863 h 603617"/>
              <a:gd name="connsiteX21" fmla="*/ 70686 w 559569"/>
              <a:gd name="connsiteY21" fmla="*/ 449328 h 603617"/>
              <a:gd name="connsiteX22" fmla="*/ 70686 w 559569"/>
              <a:gd name="connsiteY22" fmla="*/ 419516 h 603617"/>
              <a:gd name="connsiteX23" fmla="*/ 11556 w 559569"/>
              <a:gd name="connsiteY23" fmla="*/ 419516 h 603617"/>
              <a:gd name="connsiteX24" fmla="*/ 0 w 559569"/>
              <a:gd name="connsiteY24" fmla="*/ 407830 h 603617"/>
              <a:gd name="connsiteX25" fmla="*/ 0 w 559569"/>
              <a:gd name="connsiteY25" fmla="*/ 392550 h 603617"/>
              <a:gd name="connsiteX26" fmla="*/ 2101 w 559569"/>
              <a:gd name="connsiteY26" fmla="*/ 385808 h 603617"/>
              <a:gd name="connsiteX27" fmla="*/ 70686 w 559569"/>
              <a:gd name="connsiteY27" fmla="*/ 287982 h 603617"/>
              <a:gd name="connsiteX28" fmla="*/ 80141 w 559569"/>
              <a:gd name="connsiteY28" fmla="*/ 283038 h 603617"/>
              <a:gd name="connsiteX29" fmla="*/ 330828 w 559569"/>
              <a:gd name="connsiteY29" fmla="*/ 237034 h 603617"/>
              <a:gd name="connsiteX30" fmla="*/ 428747 w 559569"/>
              <a:gd name="connsiteY30" fmla="*/ 277483 h 603617"/>
              <a:gd name="connsiteX31" fmla="*/ 455159 w 559569"/>
              <a:gd name="connsiteY31" fmla="*/ 435981 h 603617"/>
              <a:gd name="connsiteX32" fmla="*/ 458011 w 559569"/>
              <a:gd name="connsiteY32" fmla="*/ 438677 h 603617"/>
              <a:gd name="connsiteX33" fmla="*/ 546401 w 559569"/>
              <a:gd name="connsiteY33" fmla="*/ 526765 h 603617"/>
              <a:gd name="connsiteX34" fmla="*/ 546401 w 559569"/>
              <a:gd name="connsiteY34" fmla="*/ 590434 h 603617"/>
              <a:gd name="connsiteX35" fmla="*/ 514587 w 559569"/>
              <a:gd name="connsiteY35" fmla="*/ 603617 h 603617"/>
              <a:gd name="connsiteX36" fmla="*/ 482622 w 559569"/>
              <a:gd name="connsiteY36" fmla="*/ 590434 h 603617"/>
              <a:gd name="connsiteX37" fmla="*/ 394382 w 559569"/>
              <a:gd name="connsiteY37" fmla="*/ 502196 h 603617"/>
              <a:gd name="connsiteX38" fmla="*/ 391830 w 559569"/>
              <a:gd name="connsiteY38" fmla="*/ 499350 h 603617"/>
              <a:gd name="connsiteX39" fmla="*/ 330753 w 559569"/>
              <a:gd name="connsiteY39" fmla="*/ 513432 h 603617"/>
              <a:gd name="connsiteX40" fmla="*/ 232908 w 559569"/>
              <a:gd name="connsiteY40" fmla="*/ 472984 h 603617"/>
              <a:gd name="connsiteX41" fmla="*/ 232908 w 559569"/>
              <a:gd name="connsiteY41" fmla="*/ 277483 h 603617"/>
              <a:gd name="connsiteX42" fmla="*/ 330828 w 559569"/>
              <a:gd name="connsiteY42" fmla="*/ 237034 h 603617"/>
              <a:gd name="connsiteX43" fmla="*/ 68728 w 559569"/>
              <a:gd name="connsiteY43" fmla="*/ 2540 h 603617"/>
              <a:gd name="connsiteX44" fmla="*/ 85974 w 559569"/>
              <a:gd name="connsiteY44" fmla="*/ 2540 h 603617"/>
              <a:gd name="connsiteX45" fmla="*/ 97522 w 559569"/>
              <a:gd name="connsiteY45" fmla="*/ 14075 h 603617"/>
              <a:gd name="connsiteX46" fmla="*/ 97522 w 559569"/>
              <a:gd name="connsiteY46" fmla="*/ 168829 h 603617"/>
              <a:gd name="connsiteX47" fmla="*/ 85974 w 559569"/>
              <a:gd name="connsiteY47" fmla="*/ 180365 h 603617"/>
              <a:gd name="connsiteX48" fmla="*/ 63329 w 559569"/>
              <a:gd name="connsiteY48" fmla="*/ 180365 h 603617"/>
              <a:gd name="connsiteX49" fmla="*/ 51781 w 559569"/>
              <a:gd name="connsiteY49" fmla="*/ 168829 h 603617"/>
              <a:gd name="connsiteX50" fmla="*/ 51781 w 559569"/>
              <a:gd name="connsiteY50" fmla="*/ 56172 h 603617"/>
              <a:gd name="connsiteX51" fmla="*/ 42333 w 559569"/>
              <a:gd name="connsiteY51" fmla="*/ 61265 h 603617"/>
              <a:gd name="connsiteX52" fmla="*/ 32285 w 559569"/>
              <a:gd name="connsiteY52" fmla="*/ 61565 h 603617"/>
              <a:gd name="connsiteX53" fmla="*/ 25687 w 559569"/>
              <a:gd name="connsiteY53" fmla="*/ 53925 h 603617"/>
              <a:gd name="connsiteX54" fmla="*/ 21038 w 559569"/>
              <a:gd name="connsiteY54" fmla="*/ 35348 h 603617"/>
              <a:gd name="connsiteX55" fmla="*/ 26736 w 559569"/>
              <a:gd name="connsiteY55" fmla="*/ 22315 h 603617"/>
              <a:gd name="connsiteX56" fmla="*/ 59430 w 559569"/>
              <a:gd name="connsiteY56" fmla="*/ 4937 h 603617"/>
              <a:gd name="connsiteX57" fmla="*/ 68728 w 559569"/>
              <a:gd name="connsiteY57" fmla="*/ 2540 h 603617"/>
              <a:gd name="connsiteX58" fmla="*/ 404304 w 559569"/>
              <a:gd name="connsiteY58" fmla="*/ 0 h 603617"/>
              <a:gd name="connsiteX59" fmla="*/ 460869 w 559569"/>
              <a:gd name="connsiteY59" fmla="*/ 49134 h 603617"/>
              <a:gd name="connsiteX60" fmla="*/ 446465 w 559569"/>
              <a:gd name="connsiteY60" fmla="*/ 83438 h 603617"/>
              <a:gd name="connsiteX61" fmla="*/ 466720 w 559569"/>
              <a:gd name="connsiteY61" fmla="*/ 124334 h 603617"/>
              <a:gd name="connsiteX62" fmla="*/ 398303 w 559569"/>
              <a:gd name="connsiteY62" fmla="*/ 182906 h 603617"/>
              <a:gd name="connsiteX63" fmla="*/ 351641 w 559569"/>
              <a:gd name="connsiteY63" fmla="*/ 170472 h 603617"/>
              <a:gd name="connsiteX64" fmla="*/ 350591 w 559569"/>
              <a:gd name="connsiteY64" fmla="*/ 169873 h 603617"/>
              <a:gd name="connsiteX65" fmla="*/ 346090 w 559569"/>
              <a:gd name="connsiteY65" fmla="*/ 156391 h 603617"/>
              <a:gd name="connsiteX66" fmla="*/ 352691 w 559569"/>
              <a:gd name="connsiteY66" fmla="*/ 137816 h 603617"/>
              <a:gd name="connsiteX67" fmla="*/ 359893 w 559569"/>
              <a:gd name="connsiteY67" fmla="*/ 130775 h 603617"/>
              <a:gd name="connsiteX68" fmla="*/ 369796 w 559569"/>
              <a:gd name="connsiteY68" fmla="*/ 131974 h 603617"/>
              <a:gd name="connsiteX69" fmla="*/ 371296 w 559569"/>
              <a:gd name="connsiteY69" fmla="*/ 132873 h 603617"/>
              <a:gd name="connsiteX70" fmla="*/ 398003 w 559569"/>
              <a:gd name="connsiteY70" fmla="*/ 140363 h 603617"/>
              <a:gd name="connsiteX71" fmla="*/ 415407 w 559569"/>
              <a:gd name="connsiteY71" fmla="*/ 134970 h 603617"/>
              <a:gd name="connsiteX72" fmla="*/ 419458 w 559569"/>
              <a:gd name="connsiteY72" fmla="*/ 124184 h 603617"/>
              <a:gd name="connsiteX73" fmla="*/ 393051 w 559569"/>
              <a:gd name="connsiteY73" fmla="*/ 106508 h 603617"/>
              <a:gd name="connsiteX74" fmla="*/ 380148 w 559569"/>
              <a:gd name="connsiteY74" fmla="*/ 106508 h 603617"/>
              <a:gd name="connsiteX75" fmla="*/ 368595 w 559569"/>
              <a:gd name="connsiteY75" fmla="*/ 94973 h 603617"/>
              <a:gd name="connsiteX76" fmla="*/ 368595 w 559569"/>
              <a:gd name="connsiteY76" fmla="*/ 76697 h 603617"/>
              <a:gd name="connsiteX77" fmla="*/ 380148 w 559569"/>
              <a:gd name="connsiteY77" fmla="*/ 65163 h 603617"/>
              <a:gd name="connsiteX78" fmla="*/ 393051 w 559569"/>
              <a:gd name="connsiteY78" fmla="*/ 65163 h 603617"/>
              <a:gd name="connsiteX79" fmla="*/ 414057 w 559569"/>
              <a:gd name="connsiteY79" fmla="*/ 52430 h 603617"/>
              <a:gd name="connsiteX80" fmla="*/ 400403 w 559569"/>
              <a:gd name="connsiteY80" fmla="*/ 42543 h 603617"/>
              <a:gd name="connsiteX81" fmla="*/ 377448 w 559569"/>
              <a:gd name="connsiteY81" fmla="*/ 50183 h 603617"/>
              <a:gd name="connsiteX82" fmla="*/ 375947 w 559569"/>
              <a:gd name="connsiteY82" fmla="*/ 51231 h 603617"/>
              <a:gd name="connsiteX83" fmla="*/ 365745 w 559569"/>
              <a:gd name="connsiteY83" fmla="*/ 52879 h 603617"/>
              <a:gd name="connsiteX84" fmla="*/ 358393 w 559569"/>
              <a:gd name="connsiteY84" fmla="*/ 45689 h 603617"/>
              <a:gd name="connsiteX85" fmla="*/ 351941 w 559569"/>
              <a:gd name="connsiteY85" fmla="*/ 28012 h 603617"/>
              <a:gd name="connsiteX86" fmla="*/ 355992 w 559569"/>
              <a:gd name="connsiteY86" fmla="*/ 14830 h 603617"/>
              <a:gd name="connsiteX87" fmla="*/ 356892 w 559569"/>
              <a:gd name="connsiteY87" fmla="*/ 14231 h 603617"/>
              <a:gd name="connsiteX88" fmla="*/ 404304 w 559569"/>
              <a:gd name="connsiteY88" fmla="*/ 0 h 603617"/>
              <a:gd name="connsiteX89" fmla="*/ 236498 w 559569"/>
              <a:gd name="connsiteY89" fmla="*/ 0 h 603617"/>
              <a:gd name="connsiteX90" fmla="*/ 296080 w 559569"/>
              <a:gd name="connsiteY90" fmla="*/ 57075 h 603617"/>
              <a:gd name="connsiteX91" fmla="*/ 250456 w 559569"/>
              <a:gd name="connsiteY91" fmla="*/ 137371 h 603617"/>
              <a:gd name="connsiteX92" fmla="*/ 288276 w 559569"/>
              <a:gd name="connsiteY92" fmla="*/ 137371 h 603617"/>
              <a:gd name="connsiteX93" fmla="*/ 299832 w 559569"/>
              <a:gd name="connsiteY93" fmla="*/ 148906 h 603617"/>
              <a:gd name="connsiteX94" fmla="*/ 299832 w 559569"/>
              <a:gd name="connsiteY94" fmla="*/ 168830 h 603617"/>
              <a:gd name="connsiteX95" fmla="*/ 288276 w 559569"/>
              <a:gd name="connsiteY95" fmla="*/ 180365 h 603617"/>
              <a:gd name="connsiteX96" fmla="*/ 188322 w 559569"/>
              <a:gd name="connsiteY96" fmla="*/ 180365 h 603617"/>
              <a:gd name="connsiteX97" fmla="*/ 176766 w 559569"/>
              <a:gd name="connsiteY97" fmla="*/ 168830 h 603617"/>
              <a:gd name="connsiteX98" fmla="*/ 176766 w 559569"/>
              <a:gd name="connsiteY98" fmla="*/ 154149 h 603617"/>
              <a:gd name="connsiteX99" fmla="*/ 180218 w 559569"/>
              <a:gd name="connsiteY99" fmla="*/ 145910 h 603617"/>
              <a:gd name="connsiteX100" fmla="*/ 196727 w 559569"/>
              <a:gd name="connsiteY100" fmla="*/ 129881 h 603617"/>
              <a:gd name="connsiteX101" fmla="*/ 249555 w 559569"/>
              <a:gd name="connsiteY101" fmla="*/ 59622 h 603617"/>
              <a:gd name="connsiteX102" fmla="*/ 232296 w 559569"/>
              <a:gd name="connsiteY102" fmla="*/ 42994 h 603617"/>
              <a:gd name="connsiteX103" fmla="*/ 208283 w 559569"/>
              <a:gd name="connsiteY103" fmla="*/ 52881 h 603617"/>
              <a:gd name="connsiteX104" fmla="*/ 206782 w 559569"/>
              <a:gd name="connsiteY104" fmla="*/ 54079 h 603617"/>
              <a:gd name="connsiteX105" fmla="*/ 196877 w 559569"/>
              <a:gd name="connsiteY105" fmla="*/ 56326 h 603617"/>
              <a:gd name="connsiteX106" fmla="*/ 188923 w 559569"/>
              <a:gd name="connsiteY106" fmla="*/ 49885 h 603617"/>
              <a:gd name="connsiteX107" fmla="*/ 181118 w 559569"/>
              <a:gd name="connsiteY107" fmla="*/ 32807 h 603617"/>
              <a:gd name="connsiteX108" fmla="*/ 184270 w 559569"/>
              <a:gd name="connsiteY108" fmla="*/ 19175 h 603617"/>
              <a:gd name="connsiteX109" fmla="*/ 185021 w 559569"/>
              <a:gd name="connsiteY109" fmla="*/ 18426 h 603617"/>
              <a:gd name="connsiteX110" fmla="*/ 236498 w 559569"/>
              <a:gd name="connsiteY110" fmla="*/ 0 h 603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559569" h="603617">
                <a:moveTo>
                  <a:pt x="70686" y="360940"/>
                </a:moveTo>
                <a:lnTo>
                  <a:pt x="58830" y="377419"/>
                </a:lnTo>
                <a:lnTo>
                  <a:pt x="70686" y="377419"/>
                </a:lnTo>
                <a:close/>
                <a:moveTo>
                  <a:pt x="330753" y="296808"/>
                </a:moveTo>
                <a:cubicBezTo>
                  <a:pt x="310643" y="296808"/>
                  <a:pt x="290534" y="304448"/>
                  <a:pt x="275227" y="319729"/>
                </a:cubicBezTo>
                <a:cubicBezTo>
                  <a:pt x="244763" y="350290"/>
                  <a:pt x="244763" y="400027"/>
                  <a:pt x="275227" y="430588"/>
                </a:cubicBezTo>
                <a:cubicBezTo>
                  <a:pt x="305841" y="461149"/>
                  <a:pt x="355664" y="461149"/>
                  <a:pt x="386278" y="430588"/>
                </a:cubicBezTo>
                <a:cubicBezTo>
                  <a:pt x="416892" y="400027"/>
                  <a:pt x="416892" y="350290"/>
                  <a:pt x="386278" y="319729"/>
                </a:cubicBezTo>
                <a:cubicBezTo>
                  <a:pt x="370971" y="304448"/>
                  <a:pt x="350862" y="296808"/>
                  <a:pt x="330753" y="296808"/>
                </a:cubicBezTo>
                <a:close/>
                <a:moveTo>
                  <a:pt x="80141" y="283038"/>
                </a:moveTo>
                <a:lnTo>
                  <a:pt x="104453" y="283038"/>
                </a:lnTo>
                <a:cubicBezTo>
                  <a:pt x="110906" y="283038"/>
                  <a:pt x="116009" y="288132"/>
                  <a:pt x="116009" y="294574"/>
                </a:cubicBezTo>
                <a:lnTo>
                  <a:pt x="116009" y="377419"/>
                </a:lnTo>
                <a:lnTo>
                  <a:pt x="125764" y="377419"/>
                </a:lnTo>
                <a:cubicBezTo>
                  <a:pt x="132217" y="377419"/>
                  <a:pt x="137320" y="382512"/>
                  <a:pt x="137320" y="388954"/>
                </a:cubicBezTo>
                <a:lnTo>
                  <a:pt x="137320" y="407830"/>
                </a:lnTo>
                <a:cubicBezTo>
                  <a:pt x="137320" y="414272"/>
                  <a:pt x="132217" y="419516"/>
                  <a:pt x="125764" y="419516"/>
                </a:cubicBezTo>
                <a:lnTo>
                  <a:pt x="116009" y="419516"/>
                </a:lnTo>
                <a:lnTo>
                  <a:pt x="116009" y="449328"/>
                </a:lnTo>
                <a:cubicBezTo>
                  <a:pt x="116009" y="455620"/>
                  <a:pt x="110906" y="460863"/>
                  <a:pt x="104453" y="460863"/>
                </a:cubicBezTo>
                <a:lnTo>
                  <a:pt x="82242" y="460863"/>
                </a:lnTo>
                <a:cubicBezTo>
                  <a:pt x="75789" y="460863"/>
                  <a:pt x="70686" y="455620"/>
                  <a:pt x="70686" y="449328"/>
                </a:cubicBezTo>
                <a:lnTo>
                  <a:pt x="70686" y="419516"/>
                </a:lnTo>
                <a:lnTo>
                  <a:pt x="11556" y="419516"/>
                </a:lnTo>
                <a:cubicBezTo>
                  <a:pt x="5102" y="419516"/>
                  <a:pt x="0" y="414272"/>
                  <a:pt x="0" y="407830"/>
                </a:cubicBezTo>
                <a:lnTo>
                  <a:pt x="0" y="392550"/>
                </a:lnTo>
                <a:cubicBezTo>
                  <a:pt x="0" y="390153"/>
                  <a:pt x="750" y="387756"/>
                  <a:pt x="2101" y="385808"/>
                </a:cubicBezTo>
                <a:lnTo>
                  <a:pt x="70686" y="287982"/>
                </a:lnTo>
                <a:cubicBezTo>
                  <a:pt x="72787" y="284836"/>
                  <a:pt x="76389" y="283038"/>
                  <a:pt x="80141" y="283038"/>
                </a:cubicBezTo>
                <a:close/>
                <a:moveTo>
                  <a:pt x="330828" y="237034"/>
                </a:moveTo>
                <a:cubicBezTo>
                  <a:pt x="366281" y="237034"/>
                  <a:pt x="401735" y="250517"/>
                  <a:pt x="428747" y="277483"/>
                </a:cubicBezTo>
                <a:cubicBezTo>
                  <a:pt x="471667" y="320328"/>
                  <a:pt x="480371" y="384446"/>
                  <a:pt x="455159" y="435981"/>
                </a:cubicBezTo>
                <a:cubicBezTo>
                  <a:pt x="456210" y="436880"/>
                  <a:pt x="457110" y="437778"/>
                  <a:pt x="458011" y="438677"/>
                </a:cubicBezTo>
                <a:lnTo>
                  <a:pt x="546401" y="526765"/>
                </a:lnTo>
                <a:cubicBezTo>
                  <a:pt x="563959" y="544443"/>
                  <a:pt x="563959" y="572906"/>
                  <a:pt x="546401" y="590434"/>
                </a:cubicBezTo>
                <a:cubicBezTo>
                  <a:pt x="537547" y="599123"/>
                  <a:pt x="525992" y="603617"/>
                  <a:pt x="514587" y="603617"/>
                </a:cubicBezTo>
                <a:cubicBezTo>
                  <a:pt x="503031" y="603617"/>
                  <a:pt x="491476" y="599123"/>
                  <a:pt x="482622" y="590434"/>
                </a:cubicBezTo>
                <a:lnTo>
                  <a:pt x="394382" y="502196"/>
                </a:lnTo>
                <a:cubicBezTo>
                  <a:pt x="393481" y="501298"/>
                  <a:pt x="392581" y="500249"/>
                  <a:pt x="391830" y="499350"/>
                </a:cubicBezTo>
                <a:cubicBezTo>
                  <a:pt x="372622" y="508638"/>
                  <a:pt x="351762" y="513432"/>
                  <a:pt x="330753" y="513432"/>
                </a:cubicBezTo>
                <a:cubicBezTo>
                  <a:pt x="295336" y="513432"/>
                  <a:pt x="259920" y="499949"/>
                  <a:pt x="232908" y="472984"/>
                </a:cubicBezTo>
                <a:cubicBezTo>
                  <a:pt x="178883" y="419052"/>
                  <a:pt x="178883" y="331264"/>
                  <a:pt x="232908" y="277483"/>
                </a:cubicBezTo>
                <a:cubicBezTo>
                  <a:pt x="259920" y="250517"/>
                  <a:pt x="295374" y="237034"/>
                  <a:pt x="330828" y="237034"/>
                </a:cubicBezTo>
                <a:close/>
                <a:moveTo>
                  <a:pt x="68728" y="2540"/>
                </a:moveTo>
                <a:lnTo>
                  <a:pt x="85974" y="2540"/>
                </a:lnTo>
                <a:cubicBezTo>
                  <a:pt x="92423" y="2540"/>
                  <a:pt x="97522" y="7783"/>
                  <a:pt x="97522" y="14075"/>
                </a:cubicBezTo>
                <a:lnTo>
                  <a:pt x="97522" y="168829"/>
                </a:lnTo>
                <a:cubicBezTo>
                  <a:pt x="97522" y="175121"/>
                  <a:pt x="92423" y="180365"/>
                  <a:pt x="85974" y="180365"/>
                </a:cubicBezTo>
                <a:lnTo>
                  <a:pt x="63329" y="180365"/>
                </a:lnTo>
                <a:cubicBezTo>
                  <a:pt x="56880" y="180365"/>
                  <a:pt x="51781" y="175121"/>
                  <a:pt x="51781" y="168829"/>
                </a:cubicBezTo>
                <a:lnTo>
                  <a:pt x="51781" y="56172"/>
                </a:lnTo>
                <a:lnTo>
                  <a:pt x="42333" y="61265"/>
                </a:lnTo>
                <a:cubicBezTo>
                  <a:pt x="39184" y="62913"/>
                  <a:pt x="35435" y="63063"/>
                  <a:pt x="32285" y="61565"/>
                </a:cubicBezTo>
                <a:cubicBezTo>
                  <a:pt x="28986" y="60217"/>
                  <a:pt x="26586" y="57370"/>
                  <a:pt x="25687" y="53925"/>
                </a:cubicBezTo>
                <a:lnTo>
                  <a:pt x="21038" y="35348"/>
                </a:lnTo>
                <a:cubicBezTo>
                  <a:pt x="19688" y="30255"/>
                  <a:pt x="22087" y="24862"/>
                  <a:pt x="26736" y="22315"/>
                </a:cubicBezTo>
                <a:lnTo>
                  <a:pt x="59430" y="4937"/>
                </a:lnTo>
                <a:cubicBezTo>
                  <a:pt x="62279" y="3289"/>
                  <a:pt x="65428" y="2540"/>
                  <a:pt x="68728" y="2540"/>
                </a:cubicBezTo>
                <a:close/>
                <a:moveTo>
                  <a:pt x="404304" y="0"/>
                </a:moveTo>
                <a:cubicBezTo>
                  <a:pt x="443164" y="0"/>
                  <a:pt x="460869" y="25466"/>
                  <a:pt x="460869" y="49134"/>
                </a:cubicBezTo>
                <a:cubicBezTo>
                  <a:pt x="460869" y="62466"/>
                  <a:pt x="455767" y="74301"/>
                  <a:pt x="446465" y="83438"/>
                </a:cubicBezTo>
                <a:cubicBezTo>
                  <a:pt x="459068" y="93026"/>
                  <a:pt x="466720" y="107706"/>
                  <a:pt x="466720" y="124334"/>
                </a:cubicBezTo>
                <a:cubicBezTo>
                  <a:pt x="466720" y="152646"/>
                  <a:pt x="445265" y="182906"/>
                  <a:pt x="398303" y="182906"/>
                </a:cubicBezTo>
                <a:cubicBezTo>
                  <a:pt x="377748" y="182906"/>
                  <a:pt x="360343" y="176165"/>
                  <a:pt x="351641" y="170472"/>
                </a:cubicBezTo>
                <a:lnTo>
                  <a:pt x="350591" y="169873"/>
                </a:lnTo>
                <a:cubicBezTo>
                  <a:pt x="346240" y="167027"/>
                  <a:pt x="344289" y="161484"/>
                  <a:pt x="346090" y="156391"/>
                </a:cubicBezTo>
                <a:lnTo>
                  <a:pt x="352691" y="137816"/>
                </a:lnTo>
                <a:cubicBezTo>
                  <a:pt x="353892" y="134520"/>
                  <a:pt x="356442" y="131824"/>
                  <a:pt x="359893" y="130775"/>
                </a:cubicBezTo>
                <a:cubicBezTo>
                  <a:pt x="363194" y="129577"/>
                  <a:pt x="366795" y="130026"/>
                  <a:pt x="369796" y="131974"/>
                </a:cubicBezTo>
                <a:lnTo>
                  <a:pt x="371296" y="132873"/>
                </a:lnTo>
                <a:cubicBezTo>
                  <a:pt x="376097" y="135869"/>
                  <a:pt x="387050" y="140363"/>
                  <a:pt x="398003" y="140363"/>
                </a:cubicBezTo>
                <a:cubicBezTo>
                  <a:pt x="403404" y="140363"/>
                  <a:pt x="410906" y="139464"/>
                  <a:pt x="415407" y="134970"/>
                </a:cubicBezTo>
                <a:cubicBezTo>
                  <a:pt x="419158" y="131075"/>
                  <a:pt x="419458" y="126131"/>
                  <a:pt x="419458" y="124184"/>
                </a:cubicBezTo>
                <a:cubicBezTo>
                  <a:pt x="419308" y="107706"/>
                  <a:pt x="399203" y="106508"/>
                  <a:pt x="393051" y="106508"/>
                </a:cubicBezTo>
                <a:lnTo>
                  <a:pt x="380148" y="106508"/>
                </a:lnTo>
                <a:cubicBezTo>
                  <a:pt x="373847" y="106508"/>
                  <a:pt x="368595" y="101414"/>
                  <a:pt x="368595" y="94973"/>
                </a:cubicBezTo>
                <a:lnTo>
                  <a:pt x="368595" y="76697"/>
                </a:lnTo>
                <a:cubicBezTo>
                  <a:pt x="368595" y="70406"/>
                  <a:pt x="373847" y="65163"/>
                  <a:pt x="380148" y="65163"/>
                </a:cubicBezTo>
                <a:lnTo>
                  <a:pt x="393051" y="65163"/>
                </a:lnTo>
                <a:cubicBezTo>
                  <a:pt x="398603" y="65163"/>
                  <a:pt x="414057" y="62916"/>
                  <a:pt x="414057" y="52430"/>
                </a:cubicBezTo>
                <a:cubicBezTo>
                  <a:pt x="414057" y="49434"/>
                  <a:pt x="414057" y="42543"/>
                  <a:pt x="400403" y="42543"/>
                </a:cubicBezTo>
                <a:cubicBezTo>
                  <a:pt x="392001" y="42543"/>
                  <a:pt x="382849" y="46288"/>
                  <a:pt x="377448" y="50183"/>
                </a:cubicBezTo>
                <a:lnTo>
                  <a:pt x="375947" y="51231"/>
                </a:lnTo>
                <a:cubicBezTo>
                  <a:pt x="372946" y="53329"/>
                  <a:pt x="369195" y="53928"/>
                  <a:pt x="365745" y="52879"/>
                </a:cubicBezTo>
                <a:cubicBezTo>
                  <a:pt x="362294" y="51831"/>
                  <a:pt x="359593" y="49134"/>
                  <a:pt x="358393" y="45689"/>
                </a:cubicBezTo>
                <a:lnTo>
                  <a:pt x="351941" y="28012"/>
                </a:lnTo>
                <a:cubicBezTo>
                  <a:pt x="350291" y="23219"/>
                  <a:pt x="351941" y="17826"/>
                  <a:pt x="355992" y="14830"/>
                </a:cubicBezTo>
                <a:lnTo>
                  <a:pt x="356892" y="14231"/>
                </a:lnTo>
                <a:cubicBezTo>
                  <a:pt x="365745" y="7640"/>
                  <a:pt x="383599" y="0"/>
                  <a:pt x="404304" y="0"/>
                </a:cubicBezTo>
                <a:close/>
                <a:moveTo>
                  <a:pt x="236498" y="0"/>
                </a:moveTo>
                <a:cubicBezTo>
                  <a:pt x="277470" y="0"/>
                  <a:pt x="296080" y="29661"/>
                  <a:pt x="296080" y="57075"/>
                </a:cubicBezTo>
                <a:cubicBezTo>
                  <a:pt x="296080" y="87036"/>
                  <a:pt x="277020" y="111005"/>
                  <a:pt x="250456" y="137371"/>
                </a:cubicBezTo>
                <a:lnTo>
                  <a:pt x="288276" y="137371"/>
                </a:lnTo>
                <a:cubicBezTo>
                  <a:pt x="294579" y="137371"/>
                  <a:pt x="299832" y="142614"/>
                  <a:pt x="299832" y="148906"/>
                </a:cubicBezTo>
                <a:lnTo>
                  <a:pt x="299832" y="168830"/>
                </a:lnTo>
                <a:cubicBezTo>
                  <a:pt x="299832" y="175122"/>
                  <a:pt x="294579" y="180365"/>
                  <a:pt x="288276" y="180365"/>
                </a:cubicBezTo>
                <a:lnTo>
                  <a:pt x="188322" y="180365"/>
                </a:lnTo>
                <a:cubicBezTo>
                  <a:pt x="181869" y="180365"/>
                  <a:pt x="176766" y="175122"/>
                  <a:pt x="176766" y="168830"/>
                </a:cubicBezTo>
                <a:lnTo>
                  <a:pt x="176766" y="154149"/>
                </a:lnTo>
                <a:cubicBezTo>
                  <a:pt x="176766" y="151003"/>
                  <a:pt x="177967" y="148007"/>
                  <a:pt x="180218" y="145910"/>
                </a:cubicBezTo>
                <a:lnTo>
                  <a:pt x="196727" y="129881"/>
                </a:lnTo>
                <a:cubicBezTo>
                  <a:pt x="233797" y="94676"/>
                  <a:pt x="249255" y="77149"/>
                  <a:pt x="249555" y="59622"/>
                </a:cubicBezTo>
                <a:cubicBezTo>
                  <a:pt x="249555" y="47787"/>
                  <a:pt x="244452" y="42994"/>
                  <a:pt x="232296" y="42994"/>
                </a:cubicBezTo>
                <a:cubicBezTo>
                  <a:pt x="221640" y="42994"/>
                  <a:pt x="212635" y="49136"/>
                  <a:pt x="208283" y="52881"/>
                </a:cubicBezTo>
                <a:lnTo>
                  <a:pt x="206782" y="54079"/>
                </a:lnTo>
                <a:cubicBezTo>
                  <a:pt x="204081" y="56326"/>
                  <a:pt x="200329" y="57225"/>
                  <a:pt x="196877" y="56326"/>
                </a:cubicBezTo>
                <a:cubicBezTo>
                  <a:pt x="193275" y="55577"/>
                  <a:pt x="190423" y="53180"/>
                  <a:pt x="188923" y="49885"/>
                </a:cubicBezTo>
                <a:lnTo>
                  <a:pt x="181118" y="32807"/>
                </a:lnTo>
                <a:cubicBezTo>
                  <a:pt x="179017" y="28013"/>
                  <a:pt x="180218" y="22470"/>
                  <a:pt x="184270" y="19175"/>
                </a:cubicBezTo>
                <a:lnTo>
                  <a:pt x="185021" y="18426"/>
                </a:lnTo>
                <a:cubicBezTo>
                  <a:pt x="199128" y="6591"/>
                  <a:pt x="217438" y="0"/>
                  <a:pt x="23649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056738-58DA-0646-AC81-930256358C2C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04</a:t>
            </a:r>
            <a:endParaRPr lang="en-US" sz="14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8902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A6E5A0-1ED6-4453-B403-9B92761D3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cs typeface="Arial"/>
              </a:rPr>
              <a:t>Other</a:t>
            </a:r>
            <a:r>
              <a:rPr lang="zh-CN" altLang="en-US">
                <a:cs typeface="Arial"/>
              </a:rPr>
              <a:t> Data Source</a:t>
            </a:r>
            <a:r>
              <a:rPr lang="en-US" altLang="zh-CN">
                <a:cs typeface="Arial"/>
              </a:rPr>
              <a:t>s</a:t>
            </a:r>
            <a:endParaRPr lang="zh-CN" altLang="en-US"/>
          </a:p>
        </p:txBody>
      </p:sp>
      <p:graphicFrame>
        <p:nvGraphicFramePr>
          <p:cNvPr id="7" name="表格 7">
            <a:extLst>
              <a:ext uri="{FF2B5EF4-FFF2-40B4-BE49-F238E27FC236}">
                <a16:creationId xmlns:a16="http://schemas.microsoft.com/office/drawing/2014/main" id="{A6625AB5-8AD4-4EF7-81BF-428CCF9B41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168410"/>
              </p:ext>
            </p:extLst>
          </p:nvPr>
        </p:nvGraphicFramePr>
        <p:xfrm>
          <a:off x="1106445" y="1359209"/>
          <a:ext cx="9739803" cy="49280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11051">
                  <a:extLst>
                    <a:ext uri="{9D8B030D-6E8A-4147-A177-3AD203B41FA5}">
                      <a16:colId xmlns:a16="http://schemas.microsoft.com/office/drawing/2014/main" val="3437372302"/>
                    </a:ext>
                  </a:extLst>
                </a:gridCol>
                <a:gridCol w="4210637">
                  <a:extLst>
                    <a:ext uri="{9D8B030D-6E8A-4147-A177-3AD203B41FA5}">
                      <a16:colId xmlns:a16="http://schemas.microsoft.com/office/drawing/2014/main" val="2969670713"/>
                    </a:ext>
                  </a:extLst>
                </a:gridCol>
                <a:gridCol w="3518115">
                  <a:extLst>
                    <a:ext uri="{9D8B030D-6E8A-4147-A177-3AD203B41FA5}">
                      <a16:colId xmlns:a16="http://schemas.microsoft.com/office/drawing/2014/main" val="223666474"/>
                    </a:ext>
                  </a:extLst>
                </a:gridCol>
              </a:tblGrid>
              <a:tr h="361360">
                <a:tc>
                  <a:txBody>
                    <a:bodyPr/>
                    <a:lstStyle/>
                    <a:p>
                      <a:r>
                        <a:rPr lang="zh-CN" altLang="en-US" sz="20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Sour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84655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20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20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firmed, Death, Recoverd cases number in California each d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zh-CN" sz="2000" b="0" u="none" strike="noStrike" noProof="0"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/>
                        </a:rPr>
                        <a:t>https://github.com/CSSEGISandData/COVID-19/tree/master/csse_covid_19_data</a:t>
                      </a:r>
                      <a:endParaRPr lang="zh-CN" sz="2000" b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lvl="0">
                        <a:buNone/>
                      </a:pPr>
                      <a:r>
                        <a:rPr lang="zh-CN" altLang="en-US" sz="2000" b="0" u="none" strike="noStrike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by JHU)</a:t>
                      </a:r>
                      <a:endParaRPr lang="zh-CN" altLang="en-US" sz="2000" b="0" i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1874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20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oogle Tre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20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oogle search times for ageusia and anosmia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zh-CN" sz="2000" b="0" u="none" strike="noStrike" noProof="0">
                          <a:latin typeface="Calibri" panose="020F0502020204030204" pitchFamily="34" charset="0"/>
                          <a:cs typeface="Calibri" panose="020F0502020204030204" pitchFamily="34" charset="0"/>
                          <a:hlinkClick r:id="rId3"/>
                        </a:rPr>
                        <a:t>https://delphi.cmu.edu/covidcast/export/?sensor=fb-survey-smoothed_wcovid_vaccinated_appointment_or_accept</a:t>
                      </a:r>
                      <a:endParaRPr lang="zh-CN" sz="2000" b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lvl="0">
                        <a:buNone/>
                      </a:pPr>
                      <a:r>
                        <a:rPr lang="zh-CN" altLang="en-US" sz="2000" b="0" u="none" strike="noStrike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by CMU DELPHI group)</a:t>
                      </a:r>
                      <a:endParaRPr lang="zh-CN" altLang="en-US" sz="2000" b="0" i="0" u="none" strike="noStrike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6212941"/>
                  </a:ext>
                </a:extLst>
              </a:tr>
              <a:tr h="2215298">
                <a:tc>
                  <a:txBody>
                    <a:bodyPr/>
                    <a:lstStyle/>
                    <a:p>
                      <a:r>
                        <a:rPr lang="zh-CN" altLang="en-US" sz="20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cebook surve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20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cebook survey on covid-like symptoms (% of people answers that they have </a:t>
                      </a:r>
                      <a:r>
                        <a:rPr lang="zh-CN" sz="2000" b="0" u="none" strike="noStrike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like symptoms </a:t>
                      </a:r>
                      <a:r>
                        <a:rPr lang="en-US" altLang="zh-CN" sz="2000" b="0" u="none" strike="noStrike" noProof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</a:t>
                      </a:r>
                      <a:r>
                        <a:rPr lang="zh-CN" sz="2000" b="0" u="none" strike="noStrike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 the </a:t>
                      </a:r>
                      <a:r>
                        <a:rPr lang="en-US" altLang="zh-CN" sz="2000" b="0" u="none" strike="noStrike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</a:t>
                      </a:r>
                      <a:r>
                        <a:rPr lang="zh-CN" sz="2000" b="0" u="none" strike="noStrike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rvey</a:t>
                      </a:r>
                      <a:r>
                        <a:rPr lang="zh-CN" altLang="en-US" sz="20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24813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1F81E59-A9FC-494C-8484-B024C62EC295}"/>
              </a:ext>
            </a:extLst>
          </p:cNvPr>
          <p:cNvSpPr txBox="1"/>
          <p:nvPr/>
        </p:nvSpPr>
        <p:spPr>
          <a:xfrm>
            <a:off x="11520487" y="6359042"/>
            <a:ext cx="506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chemeClr val="accent2"/>
                </a:solidFill>
              </a:rPr>
              <a:t>05</a:t>
            </a:r>
            <a:endParaRPr lang="en-US" sz="14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797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d997c96e-c5ee-4720-b451-60da1a7f505c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F3760"/>
      </a:accent1>
      <a:accent2>
        <a:srgbClr val="007082"/>
      </a:accent2>
      <a:accent3>
        <a:srgbClr val="36E6DE"/>
      </a:accent3>
      <a:accent4>
        <a:srgbClr val="7F7F7F"/>
      </a:accent4>
      <a:accent5>
        <a:srgbClr val="A5A5A5"/>
      </a:accent5>
      <a:accent6>
        <a:srgbClr val="C9C9C9"/>
      </a:accent6>
      <a:hlink>
        <a:srgbClr val="1F3760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997c96e-c5ee-4720-b451-60da1a7f505c.source.16x9.zh-Hans" id="{8FA9D685-4358-C943-A656-E587806219C9}" vid="{2AC63BBC-3EDC-DD4D-ADCA-0B02A4DE6316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3760"/>
    </a:accent1>
    <a:accent2>
      <a:srgbClr val="007082"/>
    </a:accent2>
    <a:accent3>
      <a:srgbClr val="36E6DE"/>
    </a:accent3>
    <a:accent4>
      <a:srgbClr val="7F7F7F"/>
    </a:accent4>
    <a:accent5>
      <a:srgbClr val="A5A5A5"/>
    </a:accent5>
    <a:accent6>
      <a:srgbClr val="C9C9C9"/>
    </a:accent6>
    <a:hlink>
      <a:srgbClr val="1F3760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3760"/>
    </a:accent1>
    <a:accent2>
      <a:srgbClr val="007082"/>
    </a:accent2>
    <a:accent3>
      <a:srgbClr val="36E6DE"/>
    </a:accent3>
    <a:accent4>
      <a:srgbClr val="7F7F7F"/>
    </a:accent4>
    <a:accent5>
      <a:srgbClr val="A5A5A5"/>
    </a:accent5>
    <a:accent6>
      <a:srgbClr val="C9C9C9"/>
    </a:accent6>
    <a:hlink>
      <a:srgbClr val="1F3760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3760"/>
    </a:accent1>
    <a:accent2>
      <a:srgbClr val="007082"/>
    </a:accent2>
    <a:accent3>
      <a:srgbClr val="36E6DE"/>
    </a:accent3>
    <a:accent4>
      <a:srgbClr val="7F7F7F"/>
    </a:accent4>
    <a:accent5>
      <a:srgbClr val="A5A5A5"/>
    </a:accent5>
    <a:accent6>
      <a:srgbClr val="C9C9C9"/>
    </a:accent6>
    <a:hlink>
      <a:srgbClr val="1F3760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D6DA008BD179343962DD4B8D4E8ACA3" ma:contentTypeVersion="8" ma:contentTypeDescription="Create a new document." ma:contentTypeScope="" ma:versionID="83abe72cb1ce92b66c20449b1ff20845">
  <xsd:schema xmlns:xsd="http://www.w3.org/2001/XMLSchema" xmlns:xs="http://www.w3.org/2001/XMLSchema" xmlns:p="http://schemas.microsoft.com/office/2006/metadata/properties" xmlns:ns2="4c02f423-383e-4afd-8bb3-20270cc9c208" targetNamespace="http://schemas.microsoft.com/office/2006/metadata/properties" ma:root="true" ma:fieldsID="d74967bc257adc5a6a390a6d5b5422fb" ns2:_="">
    <xsd:import namespace="4c02f423-383e-4afd-8bb3-20270cc9c2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02f423-383e-4afd-8bb3-20270cc9c2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E700123-CE46-4B43-8278-2E8678F1F3C7}">
  <ds:schemaRefs>
    <ds:schemaRef ds:uri="4c02f423-383e-4afd-8bb3-20270cc9c20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567FE0C-C447-4EE3-B9D5-3D6E3443D7B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ABD86DD-038B-4ECB-816D-F4272D561EF4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Application>Microsoft Office PowerPoint</Application>
  <PresentationFormat>Widescreen</PresentationFormat>
  <Slides>20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主题5</vt:lpstr>
      <vt:lpstr>PowerPoint Presentation</vt:lpstr>
      <vt:lpstr>PowerPoint Presentation</vt:lpstr>
      <vt:lpstr>Introduction &amp; Motivation</vt:lpstr>
      <vt:lpstr>Introduction – COVID19 </vt:lpstr>
      <vt:lpstr>Motivation – Why forecasting? </vt:lpstr>
      <vt:lpstr>Motivation – Why deep learning and why social media?</vt:lpstr>
      <vt:lpstr>Data</vt:lpstr>
      <vt:lpstr>Tweet Data Collection </vt:lpstr>
      <vt:lpstr>Other Data Sources</vt:lpstr>
      <vt:lpstr>Approach</vt:lpstr>
      <vt:lpstr>Approach Overview</vt:lpstr>
      <vt:lpstr>Twitter Feature Engineering – NLP</vt:lpstr>
      <vt:lpstr>Long Short-Term Memory Network Model</vt:lpstr>
      <vt:lpstr>Experiment &amp; Results</vt:lpstr>
      <vt:lpstr>Results of LSTM Models</vt:lpstr>
      <vt:lpstr>Results of LSTM Models</vt:lpstr>
      <vt:lpstr>Feature Importance – Sensitivity Analysis</vt:lpstr>
      <vt:lpstr>Conclusion</vt:lpstr>
      <vt:lpstr>Conclusion and Discussion</vt:lpstr>
      <vt:lpstr>Q &amp; A Thank you!</vt:lpstr>
    </vt:vector>
  </TitlesOfParts>
  <Manager>iSlide</Manager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i, Siyan</dc:creator>
  <cp:revision>1</cp:revision>
  <cp:lastPrinted>2020-02-12T16:00:00Z</cp:lastPrinted>
  <dcterms:created xsi:type="dcterms:W3CDTF">2021-12-01T00:26:31Z</dcterms:created>
  <dcterms:modified xsi:type="dcterms:W3CDTF">2021-12-02T16:1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8D6DA008BD179343962DD4B8D4E8ACA3</vt:lpwstr>
  </property>
</Properties>
</file>